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7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8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9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0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1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3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4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5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6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7.xml" ContentType="application/vnd.openxmlformats-officedocument.theme+xml"/>
  <Override PartName="/ppt/slideLayouts/slideLayout107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66" r:id="rId2"/>
    <p:sldMasterId id="2147483680" r:id="rId3"/>
    <p:sldMasterId id="2147483685" r:id="rId4"/>
    <p:sldMasterId id="2147483698" r:id="rId5"/>
    <p:sldMasterId id="2147483708" r:id="rId6"/>
    <p:sldMasterId id="2147483719" r:id="rId7"/>
    <p:sldMasterId id="2147483724" r:id="rId8"/>
    <p:sldMasterId id="2147483732" r:id="rId9"/>
    <p:sldMasterId id="2147483740" r:id="rId10"/>
    <p:sldMasterId id="2147483746" r:id="rId11"/>
    <p:sldMasterId id="2147483754" r:id="rId12"/>
    <p:sldMasterId id="2147483772" r:id="rId13"/>
    <p:sldMasterId id="2147483779" r:id="rId14"/>
    <p:sldMasterId id="2147483786" r:id="rId15"/>
    <p:sldMasterId id="2147483792" r:id="rId16"/>
    <p:sldMasterId id="2147483797" r:id="rId17"/>
    <p:sldMasterId id="2147483804" r:id="rId18"/>
  </p:sldMasterIdLst>
  <p:notesMasterIdLst>
    <p:notesMasterId r:id="rId24"/>
  </p:notesMasterIdLst>
  <p:handoutMasterIdLst>
    <p:handoutMasterId r:id="rId25"/>
  </p:handoutMasterIdLst>
  <p:sldIdLst>
    <p:sldId id="330" r:id="rId19"/>
    <p:sldId id="386" r:id="rId20"/>
    <p:sldId id="1740" r:id="rId21"/>
    <p:sldId id="1739" r:id="rId22"/>
    <p:sldId id="258" r:id="rId23"/>
  </p:sldIdLst>
  <p:sldSz cx="9144000" cy="5143500" type="screen16x9"/>
  <p:notesSz cx="6742113" cy="9872663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rvinen Juha" initials="KJ" lastIdx="1" clrIdx="0">
    <p:extLst>
      <p:ext uri="{19B8F6BF-5375-455C-9EA6-DF929625EA0E}">
        <p15:presenceInfo xmlns:p15="http://schemas.microsoft.com/office/powerpoint/2012/main" userId="S-1-5-21-3389725770-4109548673-2796352242-703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AF"/>
    <a:srgbClr val="898989"/>
    <a:srgbClr val="FFFFFF"/>
    <a:srgbClr val="3AA6E8"/>
    <a:srgbClr val="0B7DFA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400" autoAdjust="0"/>
  </p:normalViewPr>
  <p:slideViewPr>
    <p:cSldViewPr>
      <p:cViewPr varScale="1">
        <p:scale>
          <a:sx n="101" d="100"/>
          <a:sy n="101" d="100"/>
        </p:scale>
        <p:origin x="950" y="62"/>
      </p:cViewPr>
      <p:guideLst>
        <p:guide orient="horz" pos="66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132" y="78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BEBD02-5157-400D-829A-C7C046F3E91E}" type="datetimeFigureOut">
              <a:rPr lang="fi-FI" smtClean="0"/>
              <a:pPr/>
              <a:t>11.2.2020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818971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872BC7-5140-4C52-B7E0-B1225689ECB3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768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A9D2B110-0DFB-4E9F-A5F2-9F423D81D8F0}" type="datetimeFigureOut">
              <a:rPr lang="fi-FI" smtClean="0"/>
              <a:pPr/>
              <a:t>11.2.2020</a:t>
            </a:fld>
            <a:endParaRPr lang="fi-FI" dirty="0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8336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 dirty="0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18971" y="9377316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13583276-A66B-41D3-A762-82EBA4A52F4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634143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583276-A66B-41D3-A762-82EBA4A52F4A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036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568E94-5527-4512-BD53-14DD852A37DB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347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25200" tIns="90000" rIns="25200" bIns="0" anchor="b" anchorCtr="0">
            <a:normAutofit/>
          </a:bodyPr>
          <a:lstStyle>
            <a:lvl1pPr algn="ctr">
              <a:defRPr sz="38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7391943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2355087"/>
      </p:ext>
    </p:extLst>
  </p:cSld>
  <p:clrMapOvr>
    <a:masterClrMapping/>
  </p:clrMapOvr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pudia" userDrawn="1">
  <p:cSld name="Loppu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7429935"/>
      </p:ext>
    </p:extLst>
  </p:cSld>
  <p:clrMapOvr>
    <a:masterClrMapping/>
  </p:clrMapOvr>
  <p:hf sldNum="0"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0" tIns="90000" rIns="25200" bIns="0" anchor="b" anchorCtr="0">
            <a:noAutofit/>
          </a:bodyPr>
          <a:lstStyle>
            <a:lvl1pPr algn="ctr">
              <a:defRPr sz="36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Authors</a:t>
            </a:r>
          </a:p>
        </p:txBody>
      </p:sp>
    </p:spTree>
    <p:extLst>
      <p:ext uri="{BB962C8B-B14F-4D97-AF65-F5344CB8AC3E}">
        <p14:creationId xmlns:p14="http://schemas.microsoft.com/office/powerpoint/2010/main" val="4081442103"/>
      </p:ext>
    </p:extLst>
  </p:cSld>
  <p:clrMapOvr>
    <a:masterClrMapping/>
  </p:clrMapOvr>
  <p:transition spd="slow">
    <p:push dir="u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38929723"/>
      </p:ext>
    </p:extLst>
  </p:cSld>
  <p:clrMapOvr>
    <a:masterClrMapping/>
  </p:clrMapOvr>
  <p:transition spd="slow">
    <p:push dir="u"/>
  </p:transition>
  <p:hf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98015806"/>
      </p:ext>
    </p:extLst>
  </p:cSld>
  <p:clrMapOvr>
    <a:masterClrMapping/>
  </p:clrMapOvr>
  <p:transition spd="slow">
    <p:push dir="u"/>
  </p:transition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56048360"/>
      </p:ext>
    </p:extLst>
  </p:cSld>
  <p:clrMapOvr>
    <a:masterClrMapping/>
  </p:clrMapOvr>
  <p:transition spd="slow">
    <p:push dir="u"/>
  </p:transition>
  <p:hf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42831059"/>
      </p:ext>
    </p:extLst>
  </p:cSld>
  <p:clrMapOvr>
    <a:masterClrMapping/>
  </p:clrMapOvr>
  <p:transition spd="slow">
    <p:push dir="u"/>
  </p:transition>
  <p:hf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 ja kaksi sisältökohdetta Elisa teksti" type="twoObj">
  <p:cSld name="Otsikko ja kaksi sisältökohdetta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16800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 marL="919327" indent="-285743">
              <a:buFont typeface="Arial" pitchFamily="34" charset="0"/>
              <a:buChar char="•"/>
              <a:defRPr sz="1600"/>
            </a:lvl6pPr>
            <a:lvl7pPr marL="919327" indent="-285743">
              <a:buFont typeface="Arial" pitchFamily="34" charset="0"/>
              <a:buChar char="•"/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80472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 marL="919327" indent="-285743">
              <a:buFont typeface="Arial" pitchFamily="34" charset="0"/>
              <a:buChar char="•"/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pic>
        <p:nvPicPr>
          <p:cNvPr id="6" name="Elisa_text_blu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1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964301"/>
      </p:ext>
    </p:extLst>
  </p:cSld>
  <p:clrMapOvr>
    <a:masterClrMapping/>
  </p:clrMapOvr>
  <p:hf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17990" y="303498"/>
            <a:ext cx="8508023" cy="216024"/>
          </a:xfrm>
        </p:spPr>
        <p:txBody>
          <a:bodyPr anchor="ctr" anchorCtr="0"/>
          <a:lstStyle>
            <a:lvl1pPr marL="0" indent="0">
              <a:spcAft>
                <a:spcPts val="0"/>
              </a:spcAft>
              <a:buFontTx/>
              <a:buNone/>
              <a:defRPr sz="1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19AF"/>
                </a:solidFill>
              </a:rPr>
              <a:pPr/>
              <a:t>‹#›</a:t>
            </a:fld>
            <a:endParaRPr lang="fi-FI" dirty="0">
              <a:solidFill>
                <a:srgbClr val="0019A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05260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 ja sisältökohde Elisa teksti" type="obj" preserve="1">
  <p:cSld name="Otsikko ja sisältökohde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32040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pic>
        <p:nvPicPr>
          <p:cNvPr id="5" name="Elisa_text_blu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9213" y="46035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588333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 ja kaksi sisältökohdetta Elisa teksti" type="twoObj" preserve="1">
  <p:cSld name="Otsikko ja kaksi sisältökohdetta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16800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 marL="919350" indent="-285750">
              <a:buFont typeface="Arial" pitchFamily="34" charset="0"/>
              <a:buChar char="•"/>
              <a:defRPr sz="1600"/>
            </a:lvl6pPr>
            <a:lvl7pPr marL="919350" indent="-285750">
              <a:buFont typeface="Arial" pitchFamily="34" charset="0"/>
              <a:buChar char="•"/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80472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 marL="919350" indent="-285750">
              <a:buFont typeface="Arial" pitchFamily="34" charset="0"/>
              <a:buChar char="•"/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pic>
        <p:nvPicPr>
          <p:cNvPr id="6" name="Elisa_text_blu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79063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ain otsikko Elisa teksti" type="titleOnly" preserve="1">
  <p:cSld name="Vain otsikko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pic>
        <p:nvPicPr>
          <p:cNvPr id="4" name="Elisa_text_blu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32034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yhjä Elisa teksti" preserve="1" userDrawn="1">
  <p:cSld name="Tyhjä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lisa_text_blu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94693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90000" bIns="0" anchor="b" anchorCtr="0"/>
          <a:lstStyle>
            <a:lvl1pPr>
              <a:defRPr sz="27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90000" bIns="90000">
            <a:noAutofit/>
          </a:bodyPr>
          <a:lstStyle>
            <a:lvl1pPr marL="0" indent="0">
              <a:buNone/>
              <a:defRPr sz="4600"/>
            </a:lvl1pPr>
            <a:lvl2pPr marL="313200" indent="0">
              <a:buNone/>
              <a:defRPr sz="4600"/>
            </a:lvl2pPr>
            <a:lvl3pPr marL="633600" indent="0">
              <a:buNone/>
              <a:defRPr sz="4600"/>
            </a:lvl3pPr>
            <a:lvl4pPr marL="633600" indent="0">
              <a:buNone/>
              <a:defRPr sz="4600"/>
            </a:lvl4pPr>
            <a:lvl5pPr marL="633600" indent="0">
              <a:buNone/>
              <a:defRPr sz="4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3" name="Elisa_text_whit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800" y="4298400"/>
            <a:ext cx="1339166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572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äliotsikkodia" preserve="1" userDrawn="1">
  <p:cSld name="Väli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plash_corner_bi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Elisa_text_white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800" y="4299942"/>
            <a:ext cx="1333091" cy="846000"/>
          </a:xfrm>
          <a:prstGeom prst="rect">
            <a:avLst/>
          </a:prstGeom>
        </p:spPr>
      </p:pic>
      <p:sp>
        <p:nvSpPr>
          <p:cNvPr id="3" name="Otsikko 2"/>
          <p:cNvSpPr>
            <a:spLocks noGrp="1"/>
          </p:cNvSpPr>
          <p:nvPr>
            <p:ph type="title"/>
          </p:nvPr>
        </p:nvSpPr>
        <p:spPr>
          <a:xfrm>
            <a:off x="316800" y="1131590"/>
            <a:ext cx="4183192" cy="2323350"/>
          </a:xfrm>
        </p:spPr>
        <p:txBody>
          <a:bodyPr>
            <a:noAutofit/>
          </a:bodyPr>
          <a:lstStyle>
            <a:lvl1pPr>
              <a:defRPr sz="44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303176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pudia" preserve="1" userDrawn="1">
  <p:cSld name="Loppu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37846806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uvadia_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90000" bIns="0" anchor="b" anchorCtr="0"/>
          <a:lstStyle>
            <a:lvl1pPr>
              <a:defRPr sz="2700" b="0"/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90000" bIns="90000">
            <a:noAutofit/>
          </a:bodyPr>
          <a:lstStyle>
            <a:lvl1pPr marL="0" indent="0">
              <a:buNone/>
              <a:defRPr sz="4600"/>
            </a:lvl1pPr>
            <a:lvl2pPr marL="313200" indent="0">
              <a:buNone/>
              <a:defRPr sz="4600"/>
            </a:lvl2pPr>
            <a:lvl3pPr marL="633600" indent="0">
              <a:buNone/>
              <a:defRPr sz="4600"/>
            </a:lvl3pPr>
            <a:lvl4pPr marL="633600" indent="0">
              <a:buNone/>
              <a:defRPr sz="4600"/>
            </a:lvl4pPr>
            <a:lvl5pPr marL="633600" indent="0">
              <a:buNone/>
              <a:defRPr sz="4600"/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pic>
        <p:nvPicPr>
          <p:cNvPr id="3" name="Elisa_text_whit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834" y="4297500"/>
            <a:ext cx="1339166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396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069064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3pPr>
              <a:defRPr sz="900"/>
            </a:lvl3pPr>
            <a:lvl4pPr>
              <a:defRPr lang="fi-FI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900"/>
            </a:lvl5pPr>
            <a:lvl6pPr marL="900000" indent="-266400">
              <a:defRPr sz="900"/>
            </a:lvl6pPr>
            <a:lvl7pPr marL="900000" indent="-266400">
              <a:defRPr sz="900"/>
            </a:lvl7pPr>
            <a:lvl8pPr marL="900000" indent="-266400">
              <a:defRPr sz="900"/>
            </a:lvl8pPr>
            <a:lvl9pPr marL="900000" indent="-266400"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68119329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pudia" userDrawn="1">
  <p:cSld name="Loppu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48854046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0" tIns="90000" rIns="25200" bIns="0" anchor="b" anchorCtr="0">
            <a:noAutofit/>
          </a:bodyPr>
          <a:lstStyle>
            <a:lvl1pPr algn="ctr">
              <a:defRPr sz="3600" b="0">
                <a:solidFill>
                  <a:srgbClr val="0019AF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en-US" dirty="0"/>
              <a:t>Authors</a:t>
            </a:r>
          </a:p>
        </p:txBody>
      </p:sp>
    </p:spTree>
    <p:extLst>
      <p:ext uri="{BB962C8B-B14F-4D97-AF65-F5344CB8AC3E}">
        <p14:creationId xmlns:p14="http://schemas.microsoft.com/office/powerpoint/2010/main" val="880895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kohde (teksti,kuva,taulukko,kaavio tms)" type="obj" preserve="1">
  <p:cSld name="Otsikko ja sisältökohde (teksti,kuva,taulukko,kaavio t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5612900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kaksi sisältökohdetta" preserve="1" userDrawn="1">
  <p:cSld name="Otsikko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698057442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4453998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35592570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anchor="b">
            <a:norm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31569086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kohde (teksti,kuva,taulukko,kaavio tms)" type="obj" preserve="1">
  <p:cSld name="Otsikko ja sisältökohde (teksti,kuva,taulukko,kaavio t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kti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B27D28-E469-40A7-BAA6-F6D63A631ED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9215275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kaksi sisältökohdetta" preserve="1" userDrawn="1">
  <p:cSld name="Otsikko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168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B46A59-262E-4D06-9894-18650EDF2E1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41759438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90A8F6-89E8-4E7E-94E6-230545EACC7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0412629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1131759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BE6209-1749-4E69-904C-488329E190AC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9160313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lisa_text_whit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4150" y="4298950"/>
            <a:ext cx="1339850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90000" bIns="0" anchor="b">
            <a:noAutofit/>
          </a:bodyPr>
          <a:lstStyle>
            <a:lvl1pPr>
              <a:defRPr sz="26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90000" bIns="90000">
            <a:noAutofit/>
          </a:bodyPr>
          <a:lstStyle>
            <a:lvl1pPr marL="0" indent="0">
              <a:buNone/>
              <a:defRPr sz="3600"/>
            </a:lvl1pPr>
            <a:lvl2pPr marL="313200" indent="0">
              <a:buNone/>
              <a:defRPr sz="4600"/>
            </a:lvl2pPr>
            <a:lvl3pPr marL="633600" indent="0">
              <a:buNone/>
              <a:defRPr sz="4600"/>
            </a:lvl3pPr>
            <a:lvl4pPr marL="633600" indent="0">
              <a:buNone/>
              <a:defRPr sz="4600"/>
            </a:lvl4pPr>
            <a:lvl5pPr marL="633600" indent="0">
              <a:buNone/>
              <a:defRPr sz="4600"/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922114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pudia" preserve="1" userDrawn="1">
  <p:cSld name="Loppu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plash_e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95349010"/>
      </p:ext>
    </p:extLst>
  </p:cSld>
  <p:clrMapOvr>
    <a:masterClrMapping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plash_e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51567284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1" y="2743200"/>
            <a:ext cx="8510400" cy="1296000"/>
          </a:xfrm>
        </p:spPr>
        <p:txBody>
          <a:bodyPr lIns="25197" tIns="89990" rIns="25197" bIns="0" anchor="b" anchorCtr="0">
            <a:normAutofit/>
          </a:bodyPr>
          <a:lstStyle>
            <a:lvl1pPr algn="ctr">
              <a:defRPr sz="3799" b="0">
                <a:solidFill>
                  <a:srgbClr val="0019AF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1" y="4155926"/>
            <a:ext cx="8510400" cy="378000"/>
          </a:xfrm>
        </p:spPr>
        <p:txBody>
          <a:bodyPr lIns="89990" tIns="46794" rIns="89990" bIns="46794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89990" tIns="46794" rIns="89990" bIns="46794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38017975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1" y="1130400"/>
            <a:ext cx="7848000" cy="3240000"/>
          </a:xfrm>
        </p:spPr>
        <p:txBody>
          <a:bodyPr/>
          <a:lstStyle>
            <a:lvl3pPr>
              <a:defRPr sz="900"/>
            </a:lvl3pPr>
            <a:lvl4pPr>
              <a:defRPr lang="fi-FI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900"/>
            </a:lvl5pPr>
            <a:lvl6pPr marL="899636" indent="-266292">
              <a:defRPr sz="900"/>
            </a:lvl6pPr>
            <a:lvl7pPr marL="899636" indent="-266292">
              <a:defRPr sz="900"/>
            </a:lvl7pPr>
            <a:lvl8pPr marL="899636" indent="-266292">
              <a:defRPr sz="900"/>
            </a:lvl8pPr>
            <a:lvl9pPr marL="899636" indent="-266292"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2572595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656817931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571326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00630255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71918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225075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400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8643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6923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25200" tIns="90000" rIns="25200" bIns="0" anchor="b" anchorCtr="0">
            <a:normAutofit/>
          </a:bodyPr>
          <a:lstStyle>
            <a:lvl1pPr algn="ctr">
              <a:defRPr sz="38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19539637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3pPr>
              <a:defRPr sz="900"/>
            </a:lvl3pPr>
            <a:lvl4pPr>
              <a:defRPr lang="fi-FI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900"/>
            </a:lvl5pPr>
            <a:lvl6pPr marL="900000" indent="-266400">
              <a:defRPr sz="900"/>
            </a:lvl6pPr>
            <a:lvl7pPr marL="900000" indent="-266400">
              <a:defRPr sz="900"/>
            </a:lvl7pPr>
            <a:lvl8pPr marL="900000" indent="-266400">
              <a:defRPr sz="900"/>
            </a:lvl8pPr>
            <a:lvl9pPr marL="900000" indent="-266400"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68104359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2466412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9593475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33934417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slide background" userDrawn="1">
  <p:cSld name="Picture slid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89876" bIns="0" anchor="b" anchorCtr="0">
            <a:noAutofit/>
          </a:bodyPr>
          <a:lstStyle>
            <a:lvl1pPr>
              <a:defRPr sz="26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89876" bIns="89876">
            <a:noAutofit/>
          </a:bodyPr>
          <a:lstStyle>
            <a:lvl1pPr marL="0" indent="0">
              <a:buNone/>
              <a:defRPr sz="3600"/>
            </a:lvl1pPr>
            <a:lvl2pPr marL="312774" indent="0">
              <a:buNone/>
              <a:defRPr sz="4600"/>
            </a:lvl2pPr>
            <a:lvl3pPr marL="632736" indent="0">
              <a:buNone/>
              <a:defRPr sz="4600"/>
            </a:lvl3pPr>
            <a:lvl4pPr marL="632736" indent="0">
              <a:buNone/>
              <a:defRPr sz="4600"/>
            </a:lvl4pPr>
            <a:lvl5pPr marL="632736" indent="0">
              <a:buNone/>
              <a:defRPr sz="4600"/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pic>
        <p:nvPicPr>
          <p:cNvPr id="3" name="Elisa_text_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800" y="4298400"/>
            <a:ext cx="1339166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604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uva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1">
            <a:extLst>
              <a:ext uri="{FF2B5EF4-FFF2-40B4-BE49-F238E27FC236}">
                <a16:creationId xmlns:a16="http://schemas.microsoft.com/office/drawing/2014/main" id="{CFF35F2A-7F65-4F3A-85AE-B79EFBA03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820" y="369571"/>
            <a:ext cx="8210868" cy="3654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4EB7E5F-0D1F-4764-AA2A-2B7E8836D2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4870" y="4716000"/>
            <a:ext cx="529530" cy="31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686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75639523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641881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97576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168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666633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4214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4923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653910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slide background" preserve="1" userDrawn="1">
  <p:cSld name="Picture slid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90000" bIns="0" anchor="b" anchorCtr="0">
            <a:noAutofit/>
          </a:bodyPr>
          <a:lstStyle>
            <a:lvl1pPr>
              <a:defRPr sz="2600" b="0"/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90000" bIns="90000">
            <a:noAutofit/>
          </a:bodyPr>
          <a:lstStyle>
            <a:lvl1pPr marL="0" indent="0">
              <a:buNone/>
              <a:defRPr sz="3600"/>
            </a:lvl1pPr>
            <a:lvl2pPr marL="313200" indent="0">
              <a:buNone/>
              <a:defRPr sz="4600"/>
            </a:lvl2pPr>
            <a:lvl3pPr marL="633600" indent="0">
              <a:buNone/>
              <a:defRPr sz="4600"/>
            </a:lvl3pPr>
            <a:lvl4pPr marL="633600" indent="0">
              <a:buNone/>
              <a:defRPr sz="4600"/>
            </a:lvl4pPr>
            <a:lvl5pPr marL="633600" indent="0">
              <a:buNone/>
              <a:defRPr sz="4600"/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pic>
        <p:nvPicPr>
          <p:cNvPr id="3" name="Elisa_text_whit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800" y="4298400"/>
            <a:ext cx="1339166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1267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25200" tIns="90000" rIns="25200" bIns="0" anchor="b" anchorCtr="0">
            <a:normAutofit/>
          </a:bodyPr>
          <a:lstStyle>
            <a:lvl1pPr algn="ctr">
              <a:defRPr sz="38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10128504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4pPr>
              <a:defRPr lang="fi-FI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/>
            </a:lvl5pPr>
            <a:lvl6pPr marL="900000" indent="-266400">
              <a:defRPr/>
            </a:lvl6pPr>
            <a:lvl7pPr marL="900000" indent="-266400">
              <a:defRPr/>
            </a:lvl7pPr>
            <a:lvl8pPr marL="900000" indent="-266400">
              <a:defRPr/>
            </a:lvl8pPr>
            <a:lvl9pPr marL="900000" indent="-266400">
              <a:defRPr sz="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44837883"/>
      </p:ext>
    </p:extLst>
  </p:cSld>
  <p:clrMapOvr>
    <a:masterClrMapping/>
  </p:clrMapOvr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77597734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84685614"/>
      </p:ext>
    </p:extLst>
  </p:cSld>
  <p:clrMapOvr>
    <a:masterClrMapping/>
  </p:clrMapOvr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1206775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34402852"/>
      </p:ext>
    </p:extLst>
  </p:cSld>
  <p:clrMapOvr>
    <a:masterClrMapping/>
  </p:clrMapOvr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3600" b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1907759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77855296"/>
      </p:ext>
    </p:extLst>
  </p:cSld>
  <p:clrMapOvr>
    <a:masterClrMapping/>
  </p:clrMapOvr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168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314000"/>
            <a:ext cx="4140000" cy="3204000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517165017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94935085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61537420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nd slide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7987826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slide background" preserve="1" userDrawn="1">
  <p:cSld name="Picture slid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90000" bIns="0" anchor="b" anchorCtr="0">
            <a:noAutofit/>
          </a:bodyPr>
          <a:lstStyle>
            <a:lvl1pPr>
              <a:defRPr sz="26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90000" bIns="90000">
            <a:noAutofit/>
          </a:bodyPr>
          <a:lstStyle>
            <a:lvl1pPr marL="0" indent="0">
              <a:buNone/>
              <a:defRPr sz="3600"/>
            </a:lvl1pPr>
            <a:lvl2pPr marL="313200" indent="0">
              <a:buNone/>
              <a:defRPr sz="4600"/>
            </a:lvl2pPr>
            <a:lvl3pPr marL="633600" indent="0">
              <a:buNone/>
              <a:defRPr sz="4600"/>
            </a:lvl3pPr>
            <a:lvl4pPr marL="633600" indent="0">
              <a:buNone/>
              <a:defRPr sz="4600"/>
            </a:lvl4pPr>
            <a:lvl5pPr marL="633600" indent="0">
              <a:buNone/>
              <a:defRPr sz="4600"/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pic>
        <p:nvPicPr>
          <p:cNvPr id="3" name="Elisa_text_whit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800" y="4298400"/>
            <a:ext cx="1339166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5976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59699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kohde (teksti,kuva,taulukko,kaavio tms)" type="obj" preserve="1">
  <p:cSld name="Otsikko ja sisältökohde (teksti,kuva,taulukko,kaavio t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29160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20586502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kohde (teksti,kuva,taulukko,kaavio tms)" type="obj" preserve="1">
  <p:cSld name="Otsikko ja sisältökohde (teksti,kuva,taulukko,kaavio tm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29160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352402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kaksi sisältökohdetta" type="twoObj" preserve="1">
  <p:cSld name="Otsikko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16800" y="1314000"/>
            <a:ext cx="4140000" cy="2916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 marL="919350" indent="-285750">
              <a:buFont typeface="Arial" pitchFamily="34" charset="0"/>
              <a:buChar char="•"/>
              <a:defRPr sz="1600"/>
            </a:lvl6pPr>
            <a:lvl7pPr marL="919350" indent="-285750">
              <a:buFont typeface="Arial" pitchFamily="34" charset="0"/>
              <a:buChar char="•"/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80472" y="1314000"/>
            <a:ext cx="4140000" cy="2916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 marL="919350" indent="-285750">
              <a:buFont typeface="Arial" pitchFamily="34" charset="0"/>
              <a:buChar char="•"/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1930529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036598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yhjä" preserve="1" userDrawn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048462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 ja sisältökohde Elisa teksti" type="obj" preserve="1">
  <p:cSld name="Otsikko ja sisältökohde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24000" y="1314000"/>
            <a:ext cx="8510400" cy="3204000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5" name="Elisa_text_blu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9213" y="4603500"/>
            <a:ext cx="854787" cy="540000"/>
          </a:xfrm>
          <a:prstGeom prst="rect">
            <a:avLst/>
          </a:prstGeom>
        </p:spPr>
      </p:pic>
      <p:sp>
        <p:nvSpPr>
          <p:cNvPr id="6" name="Turvaluokitus"/>
          <p:cNvSpPr txBox="1">
            <a:spLocks noChangeArrowheads="1"/>
          </p:cNvSpPr>
          <p:nvPr userDrawn="1"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r>
              <a:rPr lang="en-GB" sz="900">
                <a:solidFill>
                  <a:srgbClr val="808080"/>
                </a:solidFill>
                <a:latin typeface="+mn-lt"/>
                <a:cs typeface="Arial" pitchFamily="34" charset="0"/>
              </a:rPr>
              <a:t>SISÄINEN</a:t>
            </a:r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18495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 ja kaksi sisältökohdetta Elisa teksti" type="twoObj" preserve="1">
  <p:cSld name="Otsikko ja kaksi sisältökohdetta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16800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 marL="919350" indent="-285750">
              <a:buFont typeface="Arial" pitchFamily="34" charset="0"/>
              <a:buChar char="•"/>
              <a:defRPr sz="1600"/>
            </a:lvl6pPr>
            <a:lvl7pPr marL="919350" indent="-285750">
              <a:buFont typeface="Arial" pitchFamily="34" charset="0"/>
              <a:buChar char="•"/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80472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 marL="919350" indent="-285750">
              <a:buFont typeface="Arial" pitchFamily="34" charset="0"/>
              <a:buChar char="•"/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text_blu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  <p:sp>
        <p:nvSpPr>
          <p:cNvPr id="7" name="Turvaluokitus"/>
          <p:cNvSpPr txBox="1">
            <a:spLocks noChangeArrowheads="1"/>
          </p:cNvSpPr>
          <p:nvPr userDrawn="1"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r>
              <a:rPr lang="en-GB" sz="900">
                <a:solidFill>
                  <a:srgbClr val="808080"/>
                </a:solidFill>
                <a:latin typeface="+mn-lt"/>
                <a:cs typeface="Arial" pitchFamily="34" charset="0"/>
              </a:rPr>
              <a:t>SISÄINEN</a:t>
            </a:r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20352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ain otsikko Elisa teksti" type="titleOnly" preserve="1">
  <p:cSld name="Vain otsikko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4" name="Elisa_text_blu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95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yhjä Elisa teksti" preserve="1" userDrawn="1">
  <p:cSld name="Tyhjä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3" name="Elisa_text_blu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  <p:sp>
        <p:nvSpPr>
          <p:cNvPr id="4" name="Turvaluokitus"/>
          <p:cNvSpPr txBox="1">
            <a:spLocks noChangeArrowheads="1"/>
          </p:cNvSpPr>
          <p:nvPr userDrawn="1"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r>
              <a:rPr lang="en-GB" sz="900">
                <a:solidFill>
                  <a:srgbClr val="808080"/>
                </a:solidFill>
                <a:latin typeface="+mn-lt"/>
                <a:cs typeface="Arial" pitchFamily="34" charset="0"/>
              </a:rPr>
              <a:t>SISÄINEN</a:t>
            </a:r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2528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457200" y="0"/>
            <a:ext cx="4320000" cy="856800"/>
          </a:xfrm>
        </p:spPr>
        <p:txBody>
          <a:bodyPr tIns="90000" bIns="0" anchor="b" anchorCtr="0"/>
          <a:lstStyle>
            <a:lvl1pPr>
              <a:defRPr sz="27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1"/>
          </p:nvPr>
        </p:nvSpPr>
        <p:spPr>
          <a:xfrm>
            <a:off x="457200" y="842400"/>
            <a:ext cx="4320000" cy="2089390"/>
          </a:xfrm>
        </p:spPr>
        <p:txBody>
          <a:bodyPr tIns="90000" bIns="90000">
            <a:noAutofit/>
          </a:bodyPr>
          <a:lstStyle>
            <a:lvl1pPr marL="0" indent="0">
              <a:buNone/>
              <a:defRPr sz="4600"/>
            </a:lvl1pPr>
            <a:lvl2pPr marL="313200" indent="0">
              <a:buNone/>
              <a:defRPr sz="4600"/>
            </a:lvl2pPr>
            <a:lvl3pPr marL="633600" indent="0">
              <a:buNone/>
              <a:defRPr sz="4600"/>
            </a:lvl3pPr>
            <a:lvl4pPr marL="633600" indent="0">
              <a:buNone/>
              <a:defRPr sz="4600"/>
            </a:lvl4pPr>
            <a:lvl5pPr marL="633600" indent="0">
              <a:buNone/>
              <a:defRPr sz="4600"/>
            </a:lvl5pPr>
          </a:lstStyle>
          <a:p>
            <a:pPr lvl="0"/>
            <a:r>
              <a:rPr lang="fi-FI"/>
              <a:t>Muokkaa tekstin perustyylejä napsauttamalla</a:t>
            </a:r>
          </a:p>
        </p:txBody>
      </p:sp>
      <p:pic>
        <p:nvPicPr>
          <p:cNvPr id="3" name="Elisa_text_whit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800" y="4298400"/>
            <a:ext cx="1339166" cy="84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07827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äliotsikkodia" preserve="1" userDrawn="1">
  <p:cSld name="Väli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plash_corner_bi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Elisa_text_white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800" y="4299942"/>
            <a:ext cx="1333091" cy="846000"/>
          </a:xfrm>
          <a:prstGeom prst="rect">
            <a:avLst/>
          </a:prstGeom>
        </p:spPr>
      </p:pic>
      <p:sp>
        <p:nvSpPr>
          <p:cNvPr id="3" name="Otsikko 2"/>
          <p:cNvSpPr>
            <a:spLocks noGrp="1"/>
          </p:cNvSpPr>
          <p:nvPr>
            <p:ph type="title"/>
          </p:nvPr>
        </p:nvSpPr>
        <p:spPr>
          <a:xfrm>
            <a:off x="316800" y="1131590"/>
            <a:ext cx="4183192" cy="2323350"/>
          </a:xfrm>
        </p:spPr>
        <p:txBody>
          <a:bodyPr>
            <a:noAutofit/>
          </a:bodyPr>
          <a:lstStyle>
            <a:lvl1pPr>
              <a:defRPr sz="4400" b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59132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kaksi sisältökohdetta" type="twoObj" preserve="1">
  <p:cSld name="Otsikko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16800" y="1314000"/>
            <a:ext cx="4140000" cy="2916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 marL="919350" indent="-285750">
              <a:buFont typeface="Arial" pitchFamily="34" charset="0"/>
              <a:buChar char="•"/>
              <a:defRPr sz="1600"/>
            </a:lvl6pPr>
            <a:lvl7pPr marL="919350" indent="-285750">
              <a:buFont typeface="Arial" pitchFamily="34" charset="0"/>
              <a:buChar char="•"/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80472" y="1314000"/>
            <a:ext cx="4140000" cy="2916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 marL="919350" indent="-285750">
              <a:buFont typeface="Arial" pitchFamily="34" charset="0"/>
              <a:buChar char="•"/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063199450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ppudia" preserve="1" userDrawn="1">
  <p:cSld name="Loppu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plash_en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2411760" y="3939902"/>
            <a:ext cx="4320480" cy="954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6751520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1" y="2743200"/>
            <a:ext cx="8510400" cy="1296000"/>
          </a:xfrm>
        </p:spPr>
        <p:txBody>
          <a:bodyPr lIns="25200" tIns="90000" rIns="25200" bIns="0" anchor="b" anchorCtr="0">
            <a:normAutofit/>
          </a:bodyPr>
          <a:lstStyle>
            <a:lvl1pPr algn="ctr">
              <a:defRPr sz="3799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1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799">
                <a:solidFill>
                  <a:schemeClr val="tx1"/>
                </a:solidFill>
              </a:defRPr>
            </a:lvl1pPr>
            <a:lvl2pPr marL="457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35614250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1" y="1130400"/>
            <a:ext cx="7848000" cy="3240000"/>
          </a:xfrm>
        </p:spPr>
        <p:txBody>
          <a:bodyPr/>
          <a:lstStyle>
            <a:lvl3pPr>
              <a:defRPr sz="900"/>
            </a:lvl3pPr>
            <a:lvl4pPr>
              <a:defRPr lang="fi-FI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900"/>
            </a:lvl5pPr>
            <a:lvl6pPr marL="899708" indent="-266313">
              <a:defRPr sz="900"/>
            </a:lvl6pPr>
            <a:lvl7pPr marL="899708" indent="-266313">
              <a:defRPr sz="900"/>
            </a:lvl7pPr>
            <a:lvl8pPr marL="899708" indent="-266313">
              <a:defRPr sz="900"/>
            </a:lvl8pPr>
            <a:lvl9pPr marL="899708" indent="-266313"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88074472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749633"/>
      </p:ext>
    </p:extLst>
  </p:cSld>
  <p:clrMapOvr>
    <a:masterClrMapping/>
  </p:clrMapOvr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87572583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69866656"/>
      </p:ext>
    </p:extLst>
  </p:cSld>
  <p:clrMapOvr>
    <a:masterClrMapping/>
  </p:clrMapOvr>
  <p:hf hdr="0" ft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kaksi sisältökohdetta" userDrawn="1">
  <p:cSld name="Otsikko ja 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07102" y="1275160"/>
            <a:ext cx="4156912" cy="3294459"/>
          </a:xfrm>
        </p:spPr>
        <p:txBody>
          <a:bodyPr/>
          <a:lstStyle>
            <a:lvl1pPr>
              <a:defRPr sz="1499"/>
            </a:lvl1pPr>
            <a:lvl2pPr>
              <a:defRPr sz="1349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 marL="689306" indent="-214248">
              <a:buFont typeface="Arial" pitchFamily="34" charset="0"/>
              <a:buChar char="•"/>
              <a:defRPr sz="1200"/>
            </a:lvl6pPr>
            <a:lvl7pPr marL="689306" indent="-214248">
              <a:buFont typeface="Arial" pitchFamily="34" charset="0"/>
              <a:buChar char="•"/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79986" y="1275160"/>
            <a:ext cx="4156913" cy="3294459"/>
          </a:xfrm>
        </p:spPr>
        <p:txBody>
          <a:bodyPr/>
          <a:lstStyle>
            <a:lvl1pPr>
              <a:defRPr sz="1499"/>
            </a:lvl1pPr>
            <a:lvl2pPr>
              <a:defRPr sz="1349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 marL="689306" indent="-214248">
              <a:buFont typeface="Arial" pitchFamily="34" charset="0"/>
              <a:buChar char="•"/>
              <a:defRPr sz="12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07102" y="303498"/>
            <a:ext cx="8529797" cy="216024"/>
          </a:xfrm>
        </p:spPr>
        <p:txBody>
          <a:bodyPr anchor="ctr" anchorCtr="0"/>
          <a:lstStyle>
            <a:lvl1pPr marL="0" indent="0">
              <a:spcAft>
                <a:spcPts val="0"/>
              </a:spcAft>
              <a:buFontTx/>
              <a:buNone/>
              <a:defRPr sz="9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5243146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25200" tIns="90000" rIns="25200" bIns="0" anchor="b" anchorCtr="0">
            <a:normAutofit/>
          </a:bodyPr>
          <a:lstStyle>
            <a:lvl1pPr algn="ctr">
              <a:defRPr sz="38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30239249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4pPr>
              <a:defRPr lang="fi-FI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/>
            </a:lvl5pPr>
            <a:lvl6pPr marL="900000" indent="-266400">
              <a:defRPr/>
            </a:lvl6pPr>
            <a:lvl7pPr marL="900000" indent="-266400">
              <a:defRPr/>
            </a:lvl7pPr>
            <a:lvl8pPr marL="900000" indent="-266400">
              <a:defRPr/>
            </a:lvl8pPr>
            <a:lvl9pPr marL="900000" indent="-266400">
              <a:defRPr sz="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3995115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5pPr>
              <a:defRPr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6035838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ain otsikko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20849246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23071109"/>
      </p:ext>
    </p:extLst>
  </p:cSld>
  <p:clrMapOvr>
    <a:masterClrMapping/>
  </p:clrMapOvr>
  <p:hf hdr="0" ft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36117194"/>
      </p:ext>
    </p:extLst>
  </p:cSld>
  <p:clrMapOvr>
    <a:masterClrMapping/>
  </p:clrMapOvr>
  <p:hf hdr="0" ft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 ja kaksi sisältökohdetta Elisa teksti" type="twoObj">
  <p:cSld name="Otsikko ja kaksi sisältökohdetta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 hasCustomPrompt="1"/>
          </p:nvPr>
        </p:nvSpPr>
        <p:spPr>
          <a:xfrm>
            <a:off x="316800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 marL="919350" indent="-285750">
              <a:buFont typeface="Arial" pitchFamily="34" charset="0"/>
              <a:buChar char="•"/>
              <a:defRPr sz="1600"/>
            </a:lvl6pPr>
            <a:lvl7pPr marL="919350" indent="-285750">
              <a:buFont typeface="Arial" pitchFamily="34" charset="0"/>
              <a:buChar char="•"/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 hasCustomPrompt="1"/>
          </p:nvPr>
        </p:nvSpPr>
        <p:spPr>
          <a:xfrm>
            <a:off x="4680472" y="1314000"/>
            <a:ext cx="4140000" cy="32040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 marL="919350" indent="-285750">
              <a:buFont typeface="Arial" pitchFamily="34" charset="0"/>
              <a:buChar char="•"/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pic>
        <p:nvPicPr>
          <p:cNvPr id="6" name="Elisa_text_blu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480904"/>
      </p:ext>
    </p:extLst>
  </p:cSld>
  <p:clrMapOvr>
    <a:masterClrMapping/>
  </p:clrMapOvr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titl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13200" y="2743200"/>
            <a:ext cx="8510400" cy="1296000"/>
          </a:xfrm>
        </p:spPr>
        <p:txBody>
          <a:bodyPr lIns="25200" tIns="90000" rIns="25200" bIns="0" anchor="b" anchorCtr="0">
            <a:normAutofit/>
          </a:bodyPr>
          <a:lstStyle>
            <a:lvl1pPr algn="ctr">
              <a:defRPr sz="3800" b="0">
                <a:solidFill>
                  <a:srgbClr val="0019A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155926"/>
            <a:ext cx="8510400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6" name="Tekstin paikkamerkki 5"/>
          <p:cNvSpPr>
            <a:spLocks noGrp="1"/>
          </p:cNvSpPr>
          <p:nvPr>
            <p:ph type="body" sz="quarter" idx="10" hasCustomPrompt="1"/>
          </p:nvPr>
        </p:nvSpPr>
        <p:spPr>
          <a:xfrm>
            <a:off x="327025" y="4454726"/>
            <a:ext cx="8510588" cy="378000"/>
          </a:xfrm>
        </p:spPr>
        <p:txBody>
          <a:bodyPr lIns="90000" tIns="46800" rIns="90000" bIns="46800">
            <a:noAutofit/>
          </a:bodyPr>
          <a:lstStyle>
            <a:lvl1pPr marL="0" indent="0" algn="ctr">
              <a:buNone/>
              <a:defRPr sz="1200"/>
            </a:lvl1pPr>
          </a:lstStyle>
          <a:p>
            <a:pPr lvl="0"/>
            <a:r>
              <a:rPr lang="fi-FI" dirty="0"/>
              <a:t>Tekijät</a:t>
            </a:r>
          </a:p>
        </p:txBody>
      </p:sp>
    </p:spTree>
    <p:extLst>
      <p:ext uri="{BB962C8B-B14F-4D97-AF65-F5344CB8AC3E}">
        <p14:creationId xmlns:p14="http://schemas.microsoft.com/office/powerpoint/2010/main" val="42715969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240000"/>
          </a:xfrm>
        </p:spPr>
        <p:txBody>
          <a:bodyPr/>
          <a:lstStyle>
            <a:lvl3pPr>
              <a:defRPr sz="900"/>
            </a:lvl3pPr>
            <a:lvl4pPr>
              <a:defRPr lang="fi-FI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sz="900"/>
            </a:lvl5pPr>
            <a:lvl6pPr marL="900000" indent="-266400">
              <a:defRPr sz="900"/>
            </a:lvl6pPr>
            <a:lvl7pPr marL="900000" indent="-266400">
              <a:defRPr sz="900"/>
            </a:lvl7pPr>
            <a:lvl8pPr marL="900000" indent="-266400">
              <a:defRPr sz="900"/>
            </a:lvl8pPr>
            <a:lvl9pPr marL="900000" indent="-266400"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44194604"/>
      </p:ext>
    </p:extLst>
  </p:cSld>
  <p:clrMapOvr>
    <a:masterClrMapping/>
  </p:clrMapOvr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ntents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3528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8" name="Sisällön paikkamerkki 3"/>
          <p:cNvSpPr>
            <a:spLocks noGrp="1"/>
          </p:cNvSpPr>
          <p:nvPr>
            <p:ph idx="11"/>
          </p:nvPr>
        </p:nvSpPr>
        <p:spPr>
          <a:xfrm>
            <a:off x="4680000" y="1130400"/>
            <a:ext cx="4140000" cy="3240000"/>
          </a:xfrm>
        </p:spPr>
        <p:txBody>
          <a:bodyPr/>
          <a:lstStyle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6pPr>
            <a:lvl7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7pPr>
            <a:lvl8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8pPr>
            <a:lvl9pPr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30624996"/>
      </p:ext>
    </p:extLst>
  </p:cSld>
  <p:clrMapOvr>
    <a:masterClrMapping/>
  </p:clrMapOvr>
  <p:hf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6219933"/>
      </p:ext>
    </p:extLst>
  </p:cSld>
  <p:clrMapOvr>
    <a:masterClrMapping/>
  </p:clrMapOvr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46087402"/>
      </p:ext>
    </p:extLst>
  </p:cSld>
  <p:clrMapOvr>
    <a:masterClrMapping/>
  </p:clrMapOvr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plash_titl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327600" y="3706014"/>
            <a:ext cx="8510400" cy="885600"/>
          </a:xfrm>
        </p:spPr>
        <p:txBody>
          <a:bodyPr lIns="25200" tIns="25200" rIns="25200" bIns="25200" anchor="b" anchorCtr="0">
            <a:normAutofit/>
          </a:bodyPr>
          <a:lstStyle>
            <a:lvl1pPr algn="ctr"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327600" y="4605114"/>
            <a:ext cx="8510400" cy="342900"/>
          </a:xfrm>
        </p:spPr>
        <p:txBody>
          <a:bodyPr lIns="25200" tIns="25200" rIns="25200" bIns="2520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02705926"/>
      </p:ext>
    </p:extLst>
  </p:cSld>
  <p:clrMapOvr>
    <a:masterClrMapping/>
  </p:clrMapOvr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ain otsikko Elisa teksti" type="titleOnly">
  <p:cSld name="Vain otsikko Elis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pic>
        <p:nvPicPr>
          <p:cNvPr id="4" name="Elisa_text_blu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478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0045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3117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5.xml"/><Relationship Id="rId9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27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83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89.xml"/><Relationship Id="rId7" Type="http://schemas.openxmlformats.org/officeDocument/2006/relationships/theme" Target="../theme/theme14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15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12.png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3.xml"/><Relationship Id="rId7" Type="http://schemas.openxmlformats.org/officeDocument/2006/relationships/theme" Target="../theme/theme1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10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15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30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29.xml"/><Relationship Id="rId9" Type="http://schemas.openxmlformats.org/officeDocument/2006/relationships/theme" Target="../theme/theme5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8.pn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4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0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1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625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6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9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r>
              <a:rPr lang="en-GB" sz="900">
                <a:solidFill>
                  <a:srgbClr val="808080"/>
                </a:solidFill>
                <a:latin typeface="+mn-lt"/>
                <a:cs typeface="Arial" pitchFamily="34" charset="0"/>
              </a:rPr>
              <a:t>SISÄINEN</a:t>
            </a:r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62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3204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r>
              <a:rPr lang="en-GB" sz="900">
                <a:solidFill>
                  <a:srgbClr val="808080"/>
                </a:solidFill>
                <a:latin typeface="+mn-lt"/>
                <a:cs typeface="Arial" pitchFamily="34" charset="0"/>
              </a:rPr>
              <a:t>SISÄINEN</a:t>
            </a:r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Kuva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301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corner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6956" y="4247636"/>
            <a:ext cx="1080000" cy="899624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2916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8" name="Turvaluokitus"/>
          <p:cNvSpPr txBox="1">
            <a:spLocks noChangeArrowheads="1"/>
          </p:cNvSpPr>
          <p:nvPr userDrawn="1"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r>
              <a:rPr lang="en-GB" sz="900">
                <a:solidFill>
                  <a:srgbClr val="808080"/>
                </a:solidFill>
                <a:latin typeface="+mn-lt"/>
                <a:cs typeface="Arial" pitchFamily="34" charset="0"/>
              </a:rPr>
              <a:t>SISÄINEN</a:t>
            </a:r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3482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1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193" tIns="25193" rIns="25193" bIns="25193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1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1" y="4604400"/>
            <a:ext cx="85091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54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</p:sldLayoutIdLst>
  <p:hf hdr="0" ftr="0" dt="0"/>
  <p:txStyles>
    <p:titleStyle>
      <a:lvl1pPr algn="l" defTabSz="914103" rtl="0" eaLnBrk="1" latinLnBrk="0" hangingPunct="1">
        <a:spcBef>
          <a:spcPct val="0"/>
        </a:spcBef>
        <a:buNone/>
        <a:defRPr sz="2999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308" indent="-284308" algn="l" defTabSz="914103" rtl="0" eaLnBrk="1" latinLnBrk="0" hangingPunct="1">
        <a:lnSpc>
          <a:spcPts val="1899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579412" indent="-266313" algn="l" defTabSz="914103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9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99708" indent="-266313" algn="l" defTabSz="914103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4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9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927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8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4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9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corner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6956" y="4247636"/>
            <a:ext cx="1080000" cy="899624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2916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905472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6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528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1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1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374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</p:sldLayoutIdLst>
  <p:transition spd="slow">
    <p:push dir="u"/>
  </p:transition>
  <p:hf hdr="0" ftr="0" dt="0"/>
  <p:txStyles>
    <p:titleStyle>
      <a:lvl1pPr algn="l" defTabSz="914378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393" indent="-284393" algn="l" defTabSz="914378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586" indent="-266393" algn="l" defTabSz="914378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99978" indent="-266393" algn="l" defTabSz="914378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7990" y="519522"/>
            <a:ext cx="8508023" cy="594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17990" y="1275161"/>
            <a:ext cx="8508023" cy="329445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6"/>
            <a:r>
              <a:rPr lang="fi-FI" dirty="0"/>
              <a:t>Sas</a:t>
            </a:r>
          </a:p>
          <a:p>
            <a:pPr lvl="7"/>
            <a:r>
              <a:rPr lang="fi-FI" dirty="0"/>
              <a:t>Sas</a:t>
            </a:r>
          </a:p>
          <a:p>
            <a:pPr lvl="8"/>
            <a:r>
              <a:rPr lang="fi-FI" dirty="0"/>
              <a:t>Asa</a:t>
            </a:r>
          </a:p>
          <a:p>
            <a:pPr lvl="8"/>
            <a:r>
              <a:rPr lang="fi-FI" dirty="0"/>
              <a:t>sas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17990" y="4840002"/>
            <a:ext cx="398814" cy="10801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0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pPr defTabSz="779233"/>
            <a:fld id="{ABDD62AB-4532-4F49-AC82-62CE9ED7FFA2}" type="slidenum">
              <a:rPr lang="fi-FI" smtClean="0">
                <a:solidFill>
                  <a:srgbClr val="0019AF"/>
                </a:solidFill>
              </a:rPr>
              <a:pPr defTabSz="779233"/>
              <a:t>‹#›</a:t>
            </a:fld>
            <a:endParaRPr lang="fi-FI" dirty="0">
              <a:solidFill>
                <a:srgbClr val="0019AF"/>
              </a:solidFill>
            </a:endParaRPr>
          </a:p>
        </p:txBody>
      </p:sp>
      <p:sp>
        <p:nvSpPr>
          <p:cNvPr id="16" name="Freeform 6"/>
          <p:cNvSpPr>
            <a:spLocks noChangeAspect="1" noEditPoints="1"/>
          </p:cNvSpPr>
          <p:nvPr/>
        </p:nvSpPr>
        <p:spPr bwMode="auto">
          <a:xfrm>
            <a:off x="8211850" y="4731990"/>
            <a:ext cx="680631" cy="216000"/>
          </a:xfrm>
          <a:custGeom>
            <a:avLst/>
            <a:gdLst>
              <a:gd name="T0" fmla="*/ 3868 w 8072"/>
              <a:gd name="T1" fmla="*/ 450 h 3152"/>
              <a:gd name="T2" fmla="*/ 4149 w 8072"/>
              <a:gd name="T3" fmla="*/ 723 h 3152"/>
              <a:gd name="T4" fmla="*/ 4337 w 8072"/>
              <a:gd name="T5" fmla="*/ 457 h 3152"/>
              <a:gd name="T6" fmla="*/ 6387 w 8072"/>
              <a:gd name="T7" fmla="*/ 3147 h 3152"/>
              <a:gd name="T8" fmla="*/ 5939 w 8072"/>
              <a:gd name="T9" fmla="*/ 2840 h 3152"/>
              <a:gd name="T10" fmla="*/ 6082 w 8072"/>
              <a:gd name="T11" fmla="*/ 2095 h 3152"/>
              <a:gd name="T12" fmla="*/ 7066 w 8072"/>
              <a:gd name="T13" fmla="*/ 1781 h 3152"/>
              <a:gd name="T14" fmla="*/ 6728 w 8072"/>
              <a:gd name="T15" fmla="*/ 1511 h 3152"/>
              <a:gd name="T16" fmla="*/ 5339 w 8072"/>
              <a:gd name="T17" fmla="*/ 1507 h 3152"/>
              <a:gd name="T18" fmla="*/ 5076 w 8072"/>
              <a:gd name="T19" fmla="*/ 1769 h 3152"/>
              <a:gd name="T20" fmla="*/ 5643 w 8072"/>
              <a:gd name="T21" fmla="*/ 2206 h 3152"/>
              <a:gd name="T22" fmla="*/ 5547 w 8072"/>
              <a:gd name="T23" fmla="*/ 2928 h 3152"/>
              <a:gd name="T24" fmla="*/ 4860 w 8072"/>
              <a:gd name="T25" fmla="*/ 3147 h 3152"/>
              <a:gd name="T26" fmla="*/ 4180 w 8072"/>
              <a:gd name="T27" fmla="*/ 2768 h 3152"/>
              <a:gd name="T28" fmla="*/ 3959 w 8072"/>
              <a:gd name="T29" fmla="*/ 2573 h 3152"/>
              <a:gd name="T30" fmla="*/ 3329 w 8072"/>
              <a:gd name="T31" fmla="*/ 3151 h 3152"/>
              <a:gd name="T32" fmla="*/ 2791 w 8072"/>
              <a:gd name="T33" fmla="*/ 2609 h 3152"/>
              <a:gd name="T34" fmla="*/ 2146 w 8072"/>
              <a:gd name="T35" fmla="*/ 2946 h 3152"/>
              <a:gd name="T36" fmla="*/ 1139 w 8072"/>
              <a:gd name="T37" fmla="*/ 3118 h 3152"/>
              <a:gd name="T38" fmla="*/ 575 w 8072"/>
              <a:gd name="T39" fmla="*/ 2472 h 3152"/>
              <a:gd name="T40" fmla="*/ 31 w 8072"/>
              <a:gd name="T41" fmla="*/ 2222 h 3152"/>
              <a:gd name="T42" fmla="*/ 191 w 8072"/>
              <a:gd name="T43" fmla="*/ 1913 h 3152"/>
              <a:gd name="T44" fmla="*/ 654 w 8072"/>
              <a:gd name="T45" fmla="*/ 1604 h 3152"/>
              <a:gd name="T46" fmla="*/ 1514 w 8072"/>
              <a:gd name="T47" fmla="*/ 1038 h 3152"/>
              <a:gd name="T48" fmla="*/ 2185 w 8072"/>
              <a:gd name="T49" fmla="*/ 1322 h 3152"/>
              <a:gd name="T50" fmla="*/ 2111 w 8072"/>
              <a:gd name="T51" fmla="*/ 2010 h 3152"/>
              <a:gd name="T52" fmla="*/ 1237 w 8072"/>
              <a:gd name="T53" fmla="*/ 2398 h 3152"/>
              <a:gd name="T54" fmla="*/ 1149 w 8072"/>
              <a:gd name="T55" fmla="*/ 2663 h 3152"/>
              <a:gd name="T56" fmla="*/ 1926 w 8072"/>
              <a:gd name="T57" fmla="*/ 2620 h 3152"/>
              <a:gd name="T58" fmla="*/ 2614 w 8072"/>
              <a:gd name="T59" fmla="*/ 1943 h 3152"/>
              <a:gd name="T60" fmla="*/ 2581 w 8072"/>
              <a:gd name="T61" fmla="*/ 426 h 3152"/>
              <a:gd name="T62" fmla="*/ 3011 w 8072"/>
              <a:gd name="T63" fmla="*/ 2 h 3152"/>
              <a:gd name="T64" fmla="*/ 3540 w 8072"/>
              <a:gd name="T65" fmla="*/ 322 h 3152"/>
              <a:gd name="T66" fmla="*/ 3473 w 8072"/>
              <a:gd name="T67" fmla="*/ 1321 h 3152"/>
              <a:gd name="T68" fmla="*/ 3072 w 8072"/>
              <a:gd name="T69" fmla="*/ 2197 h 3152"/>
              <a:gd name="T70" fmla="*/ 3478 w 8072"/>
              <a:gd name="T71" fmla="*/ 2605 h 3152"/>
              <a:gd name="T72" fmla="*/ 3956 w 8072"/>
              <a:gd name="T73" fmla="*/ 1453 h 3152"/>
              <a:gd name="T74" fmla="*/ 4080 w 8072"/>
              <a:gd name="T75" fmla="*/ 1038 h 3152"/>
              <a:gd name="T76" fmla="*/ 4398 w 8072"/>
              <a:gd name="T77" fmla="*/ 2019 h 3152"/>
              <a:gd name="T78" fmla="*/ 4759 w 8072"/>
              <a:gd name="T79" fmla="*/ 2767 h 3152"/>
              <a:gd name="T80" fmla="*/ 5318 w 8072"/>
              <a:gd name="T81" fmla="*/ 2609 h 3152"/>
              <a:gd name="T82" fmla="*/ 4970 w 8072"/>
              <a:gd name="T83" fmla="*/ 2187 h 3152"/>
              <a:gd name="T84" fmla="*/ 4627 w 8072"/>
              <a:gd name="T85" fmla="*/ 1674 h 3152"/>
              <a:gd name="T86" fmla="*/ 5182 w 8072"/>
              <a:gd name="T87" fmla="*/ 1139 h 3152"/>
              <a:gd name="T88" fmla="*/ 6495 w 8072"/>
              <a:gd name="T89" fmla="*/ 1063 h 3152"/>
              <a:gd name="T90" fmla="*/ 7446 w 8072"/>
              <a:gd name="T91" fmla="*/ 1492 h 3152"/>
              <a:gd name="T92" fmla="*/ 7855 w 8072"/>
              <a:gd name="T93" fmla="*/ 1814 h 3152"/>
              <a:gd name="T94" fmla="*/ 8063 w 8072"/>
              <a:gd name="T95" fmla="*/ 2083 h 3152"/>
              <a:gd name="T96" fmla="*/ 7638 w 8072"/>
              <a:gd name="T97" fmla="*/ 2196 h 3152"/>
              <a:gd name="T98" fmla="*/ 7269 w 8072"/>
              <a:gd name="T99" fmla="*/ 2844 h 3152"/>
              <a:gd name="T100" fmla="*/ 6952 w 8072"/>
              <a:gd name="T101" fmla="*/ 2187 h 3152"/>
              <a:gd name="T102" fmla="*/ 6329 w 8072"/>
              <a:gd name="T103" fmla="*/ 2420 h 3152"/>
              <a:gd name="T104" fmla="*/ 6398 w 8072"/>
              <a:gd name="T105" fmla="*/ 2739 h 3152"/>
              <a:gd name="T106" fmla="*/ 7004 w 8072"/>
              <a:gd name="T107" fmla="*/ 2553 h 3152"/>
              <a:gd name="T108" fmla="*/ 7136 w 8072"/>
              <a:gd name="T109" fmla="*/ 2184 h 3152"/>
              <a:gd name="T110" fmla="*/ 1062 w 8072"/>
              <a:gd name="T111" fmla="*/ 1692 h 3152"/>
              <a:gd name="T112" fmla="*/ 971 w 8072"/>
              <a:gd name="T113" fmla="*/ 2003 h 3152"/>
              <a:gd name="T114" fmla="*/ 1738 w 8072"/>
              <a:gd name="T115" fmla="*/ 1836 h 3152"/>
              <a:gd name="T116" fmla="*/ 1808 w 8072"/>
              <a:gd name="T117" fmla="*/ 1478 h 3152"/>
              <a:gd name="T118" fmla="*/ 2949 w 8072"/>
              <a:gd name="T119" fmla="*/ 1548 h 3152"/>
              <a:gd name="T120" fmla="*/ 3218 w 8072"/>
              <a:gd name="T121" fmla="*/ 660 h 3152"/>
              <a:gd name="T122" fmla="*/ 3019 w 8072"/>
              <a:gd name="T123" fmla="*/ 366 h 3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072" h="3152">
                <a:moveTo>
                  <a:pt x="4081" y="233"/>
                </a:moveTo>
                <a:lnTo>
                  <a:pt x="4060" y="234"/>
                </a:lnTo>
                <a:lnTo>
                  <a:pt x="4038" y="237"/>
                </a:lnTo>
                <a:lnTo>
                  <a:pt x="4017" y="242"/>
                </a:lnTo>
                <a:lnTo>
                  <a:pt x="3998" y="249"/>
                </a:lnTo>
                <a:lnTo>
                  <a:pt x="3979" y="258"/>
                </a:lnTo>
                <a:lnTo>
                  <a:pt x="3962" y="269"/>
                </a:lnTo>
                <a:lnTo>
                  <a:pt x="3946" y="281"/>
                </a:lnTo>
                <a:lnTo>
                  <a:pt x="3931" y="294"/>
                </a:lnTo>
                <a:lnTo>
                  <a:pt x="3918" y="311"/>
                </a:lnTo>
                <a:lnTo>
                  <a:pt x="3906" y="327"/>
                </a:lnTo>
                <a:lnTo>
                  <a:pt x="3894" y="345"/>
                </a:lnTo>
                <a:lnTo>
                  <a:pt x="3885" y="364"/>
                </a:lnTo>
                <a:lnTo>
                  <a:pt x="3878" y="384"/>
                </a:lnTo>
                <a:lnTo>
                  <a:pt x="3873" y="405"/>
                </a:lnTo>
                <a:lnTo>
                  <a:pt x="3871" y="416"/>
                </a:lnTo>
                <a:lnTo>
                  <a:pt x="3870" y="428"/>
                </a:lnTo>
                <a:lnTo>
                  <a:pt x="3868" y="450"/>
                </a:lnTo>
                <a:lnTo>
                  <a:pt x="3869" y="475"/>
                </a:lnTo>
                <a:lnTo>
                  <a:pt x="3872" y="500"/>
                </a:lnTo>
                <a:lnTo>
                  <a:pt x="3877" y="524"/>
                </a:lnTo>
                <a:lnTo>
                  <a:pt x="3885" y="548"/>
                </a:lnTo>
                <a:lnTo>
                  <a:pt x="3894" y="571"/>
                </a:lnTo>
                <a:lnTo>
                  <a:pt x="3907" y="592"/>
                </a:lnTo>
                <a:lnTo>
                  <a:pt x="3920" y="613"/>
                </a:lnTo>
                <a:lnTo>
                  <a:pt x="3935" y="632"/>
                </a:lnTo>
                <a:lnTo>
                  <a:pt x="3952" y="649"/>
                </a:lnTo>
                <a:lnTo>
                  <a:pt x="3970" y="667"/>
                </a:lnTo>
                <a:lnTo>
                  <a:pt x="3989" y="681"/>
                </a:lnTo>
                <a:lnTo>
                  <a:pt x="4009" y="694"/>
                </a:lnTo>
                <a:lnTo>
                  <a:pt x="4031" y="704"/>
                </a:lnTo>
                <a:lnTo>
                  <a:pt x="4055" y="713"/>
                </a:lnTo>
                <a:lnTo>
                  <a:pt x="4078" y="719"/>
                </a:lnTo>
                <a:lnTo>
                  <a:pt x="4102" y="723"/>
                </a:lnTo>
                <a:lnTo>
                  <a:pt x="4127" y="724"/>
                </a:lnTo>
                <a:lnTo>
                  <a:pt x="4149" y="723"/>
                </a:lnTo>
                <a:lnTo>
                  <a:pt x="4170" y="720"/>
                </a:lnTo>
                <a:lnTo>
                  <a:pt x="4192" y="715"/>
                </a:lnTo>
                <a:lnTo>
                  <a:pt x="4211" y="708"/>
                </a:lnTo>
                <a:lnTo>
                  <a:pt x="4229" y="699"/>
                </a:lnTo>
                <a:lnTo>
                  <a:pt x="4247" y="689"/>
                </a:lnTo>
                <a:lnTo>
                  <a:pt x="4263" y="677"/>
                </a:lnTo>
                <a:lnTo>
                  <a:pt x="4277" y="662"/>
                </a:lnTo>
                <a:lnTo>
                  <a:pt x="4291" y="647"/>
                </a:lnTo>
                <a:lnTo>
                  <a:pt x="4303" y="630"/>
                </a:lnTo>
                <a:lnTo>
                  <a:pt x="4314" y="612"/>
                </a:lnTo>
                <a:lnTo>
                  <a:pt x="4323" y="594"/>
                </a:lnTo>
                <a:lnTo>
                  <a:pt x="4330" y="574"/>
                </a:lnTo>
                <a:lnTo>
                  <a:pt x="4336" y="553"/>
                </a:lnTo>
                <a:lnTo>
                  <a:pt x="4338" y="541"/>
                </a:lnTo>
                <a:lnTo>
                  <a:pt x="4339" y="530"/>
                </a:lnTo>
                <a:lnTo>
                  <a:pt x="4341" y="507"/>
                </a:lnTo>
                <a:lnTo>
                  <a:pt x="4340" y="482"/>
                </a:lnTo>
                <a:lnTo>
                  <a:pt x="4337" y="457"/>
                </a:lnTo>
                <a:lnTo>
                  <a:pt x="4331" y="433"/>
                </a:lnTo>
                <a:lnTo>
                  <a:pt x="4324" y="409"/>
                </a:lnTo>
                <a:lnTo>
                  <a:pt x="4314" y="386"/>
                </a:lnTo>
                <a:lnTo>
                  <a:pt x="4302" y="365"/>
                </a:lnTo>
                <a:lnTo>
                  <a:pt x="4288" y="345"/>
                </a:lnTo>
                <a:lnTo>
                  <a:pt x="4273" y="326"/>
                </a:lnTo>
                <a:lnTo>
                  <a:pt x="4257" y="308"/>
                </a:lnTo>
                <a:lnTo>
                  <a:pt x="4239" y="291"/>
                </a:lnTo>
                <a:lnTo>
                  <a:pt x="4220" y="276"/>
                </a:lnTo>
                <a:lnTo>
                  <a:pt x="4199" y="264"/>
                </a:lnTo>
                <a:lnTo>
                  <a:pt x="4178" y="253"/>
                </a:lnTo>
                <a:lnTo>
                  <a:pt x="4154" y="245"/>
                </a:lnTo>
                <a:lnTo>
                  <a:pt x="4131" y="238"/>
                </a:lnTo>
                <a:lnTo>
                  <a:pt x="4106" y="234"/>
                </a:lnTo>
                <a:lnTo>
                  <a:pt x="4081" y="233"/>
                </a:lnTo>
                <a:close/>
                <a:moveTo>
                  <a:pt x="6495" y="3152"/>
                </a:moveTo>
                <a:lnTo>
                  <a:pt x="6443" y="3151"/>
                </a:lnTo>
                <a:lnTo>
                  <a:pt x="6387" y="3147"/>
                </a:lnTo>
                <a:lnTo>
                  <a:pt x="6329" y="3141"/>
                </a:lnTo>
                <a:lnTo>
                  <a:pt x="6272" y="3130"/>
                </a:lnTo>
                <a:lnTo>
                  <a:pt x="6244" y="3124"/>
                </a:lnTo>
                <a:lnTo>
                  <a:pt x="6215" y="3116"/>
                </a:lnTo>
                <a:lnTo>
                  <a:pt x="6187" y="3106"/>
                </a:lnTo>
                <a:lnTo>
                  <a:pt x="6161" y="3096"/>
                </a:lnTo>
                <a:lnTo>
                  <a:pt x="6135" y="3083"/>
                </a:lnTo>
                <a:lnTo>
                  <a:pt x="6111" y="3069"/>
                </a:lnTo>
                <a:lnTo>
                  <a:pt x="6086" y="3054"/>
                </a:lnTo>
                <a:lnTo>
                  <a:pt x="6065" y="3037"/>
                </a:lnTo>
                <a:lnTo>
                  <a:pt x="6047" y="3021"/>
                </a:lnTo>
                <a:lnTo>
                  <a:pt x="6030" y="3004"/>
                </a:lnTo>
                <a:lnTo>
                  <a:pt x="6015" y="2985"/>
                </a:lnTo>
                <a:lnTo>
                  <a:pt x="6001" y="2966"/>
                </a:lnTo>
                <a:lnTo>
                  <a:pt x="5988" y="2946"/>
                </a:lnTo>
                <a:lnTo>
                  <a:pt x="5977" y="2926"/>
                </a:lnTo>
                <a:lnTo>
                  <a:pt x="5957" y="2884"/>
                </a:lnTo>
                <a:lnTo>
                  <a:pt x="5939" y="2840"/>
                </a:lnTo>
                <a:lnTo>
                  <a:pt x="5927" y="2797"/>
                </a:lnTo>
                <a:lnTo>
                  <a:pt x="5918" y="2754"/>
                </a:lnTo>
                <a:lnTo>
                  <a:pt x="5911" y="2711"/>
                </a:lnTo>
                <a:lnTo>
                  <a:pt x="5907" y="2670"/>
                </a:lnTo>
                <a:lnTo>
                  <a:pt x="5904" y="2633"/>
                </a:lnTo>
                <a:lnTo>
                  <a:pt x="5904" y="2567"/>
                </a:lnTo>
                <a:lnTo>
                  <a:pt x="5906" y="2522"/>
                </a:lnTo>
                <a:lnTo>
                  <a:pt x="5908" y="2501"/>
                </a:lnTo>
                <a:lnTo>
                  <a:pt x="5924" y="2413"/>
                </a:lnTo>
                <a:lnTo>
                  <a:pt x="5935" y="2368"/>
                </a:lnTo>
                <a:lnTo>
                  <a:pt x="5950" y="2322"/>
                </a:lnTo>
                <a:lnTo>
                  <a:pt x="5969" y="2276"/>
                </a:lnTo>
                <a:lnTo>
                  <a:pt x="5991" y="2229"/>
                </a:lnTo>
                <a:lnTo>
                  <a:pt x="6017" y="2184"/>
                </a:lnTo>
                <a:lnTo>
                  <a:pt x="6032" y="2162"/>
                </a:lnTo>
                <a:lnTo>
                  <a:pt x="6047" y="2140"/>
                </a:lnTo>
                <a:lnTo>
                  <a:pt x="6064" y="2117"/>
                </a:lnTo>
                <a:lnTo>
                  <a:pt x="6082" y="2095"/>
                </a:lnTo>
                <a:lnTo>
                  <a:pt x="6123" y="2054"/>
                </a:lnTo>
                <a:lnTo>
                  <a:pt x="6144" y="2033"/>
                </a:lnTo>
                <a:lnTo>
                  <a:pt x="6167" y="2014"/>
                </a:lnTo>
                <a:lnTo>
                  <a:pt x="6218" y="1975"/>
                </a:lnTo>
                <a:lnTo>
                  <a:pt x="6246" y="1957"/>
                </a:lnTo>
                <a:lnTo>
                  <a:pt x="6275" y="1940"/>
                </a:lnTo>
                <a:lnTo>
                  <a:pt x="6305" y="1924"/>
                </a:lnTo>
                <a:lnTo>
                  <a:pt x="6337" y="1908"/>
                </a:lnTo>
                <a:lnTo>
                  <a:pt x="6407" y="1879"/>
                </a:lnTo>
                <a:lnTo>
                  <a:pt x="6482" y="1853"/>
                </a:lnTo>
                <a:lnTo>
                  <a:pt x="6556" y="1834"/>
                </a:lnTo>
                <a:lnTo>
                  <a:pt x="6630" y="1818"/>
                </a:lnTo>
                <a:lnTo>
                  <a:pt x="6705" y="1806"/>
                </a:lnTo>
                <a:lnTo>
                  <a:pt x="6780" y="1797"/>
                </a:lnTo>
                <a:lnTo>
                  <a:pt x="6851" y="1791"/>
                </a:lnTo>
                <a:lnTo>
                  <a:pt x="6921" y="1786"/>
                </a:lnTo>
                <a:lnTo>
                  <a:pt x="7043" y="1781"/>
                </a:lnTo>
                <a:lnTo>
                  <a:pt x="7066" y="1781"/>
                </a:lnTo>
                <a:lnTo>
                  <a:pt x="7095" y="1777"/>
                </a:lnTo>
                <a:lnTo>
                  <a:pt x="7110" y="1773"/>
                </a:lnTo>
                <a:lnTo>
                  <a:pt x="7124" y="1768"/>
                </a:lnTo>
                <a:lnTo>
                  <a:pt x="7134" y="1761"/>
                </a:lnTo>
                <a:lnTo>
                  <a:pt x="7140" y="1751"/>
                </a:lnTo>
                <a:lnTo>
                  <a:pt x="7140" y="1739"/>
                </a:lnTo>
                <a:lnTo>
                  <a:pt x="7135" y="1727"/>
                </a:lnTo>
                <a:lnTo>
                  <a:pt x="7126" y="1713"/>
                </a:lnTo>
                <a:lnTo>
                  <a:pt x="7113" y="1699"/>
                </a:lnTo>
                <a:lnTo>
                  <a:pt x="7098" y="1685"/>
                </a:lnTo>
                <a:lnTo>
                  <a:pt x="7082" y="1672"/>
                </a:lnTo>
                <a:lnTo>
                  <a:pt x="7051" y="1649"/>
                </a:lnTo>
                <a:lnTo>
                  <a:pt x="6999" y="1616"/>
                </a:lnTo>
                <a:lnTo>
                  <a:pt x="6930" y="1582"/>
                </a:lnTo>
                <a:lnTo>
                  <a:pt x="6887" y="1564"/>
                </a:lnTo>
                <a:lnTo>
                  <a:pt x="6840" y="1546"/>
                </a:lnTo>
                <a:lnTo>
                  <a:pt x="6787" y="1529"/>
                </a:lnTo>
                <a:lnTo>
                  <a:pt x="6728" y="1511"/>
                </a:lnTo>
                <a:lnTo>
                  <a:pt x="6664" y="1496"/>
                </a:lnTo>
                <a:lnTo>
                  <a:pt x="6592" y="1481"/>
                </a:lnTo>
                <a:lnTo>
                  <a:pt x="6515" y="1468"/>
                </a:lnTo>
                <a:lnTo>
                  <a:pt x="6430" y="1457"/>
                </a:lnTo>
                <a:lnTo>
                  <a:pt x="6385" y="1452"/>
                </a:lnTo>
                <a:lnTo>
                  <a:pt x="6338" y="1448"/>
                </a:lnTo>
                <a:lnTo>
                  <a:pt x="6240" y="1441"/>
                </a:lnTo>
                <a:lnTo>
                  <a:pt x="6133" y="1436"/>
                </a:lnTo>
                <a:lnTo>
                  <a:pt x="6018" y="1435"/>
                </a:lnTo>
                <a:lnTo>
                  <a:pt x="5932" y="1435"/>
                </a:lnTo>
                <a:lnTo>
                  <a:pt x="5828" y="1437"/>
                </a:lnTo>
                <a:lnTo>
                  <a:pt x="5719" y="1444"/>
                </a:lnTo>
                <a:lnTo>
                  <a:pt x="5607" y="1455"/>
                </a:lnTo>
                <a:lnTo>
                  <a:pt x="5552" y="1463"/>
                </a:lnTo>
                <a:lnTo>
                  <a:pt x="5496" y="1472"/>
                </a:lnTo>
                <a:lnTo>
                  <a:pt x="5443" y="1482"/>
                </a:lnTo>
                <a:lnTo>
                  <a:pt x="5390" y="1494"/>
                </a:lnTo>
                <a:lnTo>
                  <a:pt x="5339" y="1507"/>
                </a:lnTo>
                <a:lnTo>
                  <a:pt x="5291" y="1522"/>
                </a:lnTo>
                <a:lnTo>
                  <a:pt x="5244" y="1538"/>
                </a:lnTo>
                <a:lnTo>
                  <a:pt x="5200" y="1555"/>
                </a:lnTo>
                <a:lnTo>
                  <a:pt x="5160" y="1574"/>
                </a:lnTo>
                <a:lnTo>
                  <a:pt x="5123" y="1594"/>
                </a:lnTo>
                <a:lnTo>
                  <a:pt x="5108" y="1604"/>
                </a:lnTo>
                <a:lnTo>
                  <a:pt x="5094" y="1614"/>
                </a:lnTo>
                <a:lnTo>
                  <a:pt x="5082" y="1624"/>
                </a:lnTo>
                <a:lnTo>
                  <a:pt x="5072" y="1635"/>
                </a:lnTo>
                <a:lnTo>
                  <a:pt x="5064" y="1648"/>
                </a:lnTo>
                <a:lnTo>
                  <a:pt x="5057" y="1660"/>
                </a:lnTo>
                <a:lnTo>
                  <a:pt x="5053" y="1673"/>
                </a:lnTo>
                <a:lnTo>
                  <a:pt x="5051" y="1687"/>
                </a:lnTo>
                <a:lnTo>
                  <a:pt x="5050" y="1699"/>
                </a:lnTo>
                <a:lnTo>
                  <a:pt x="5051" y="1710"/>
                </a:lnTo>
                <a:lnTo>
                  <a:pt x="5057" y="1731"/>
                </a:lnTo>
                <a:lnTo>
                  <a:pt x="5065" y="1751"/>
                </a:lnTo>
                <a:lnTo>
                  <a:pt x="5076" y="1769"/>
                </a:lnTo>
                <a:lnTo>
                  <a:pt x="5087" y="1784"/>
                </a:lnTo>
                <a:lnTo>
                  <a:pt x="5098" y="1795"/>
                </a:lnTo>
                <a:lnTo>
                  <a:pt x="5111" y="1807"/>
                </a:lnTo>
                <a:lnTo>
                  <a:pt x="5113" y="1808"/>
                </a:lnTo>
                <a:lnTo>
                  <a:pt x="5157" y="1839"/>
                </a:lnTo>
                <a:lnTo>
                  <a:pt x="5200" y="1866"/>
                </a:lnTo>
                <a:lnTo>
                  <a:pt x="5274" y="1907"/>
                </a:lnTo>
                <a:lnTo>
                  <a:pt x="5291" y="1915"/>
                </a:lnTo>
                <a:lnTo>
                  <a:pt x="5332" y="1935"/>
                </a:lnTo>
                <a:lnTo>
                  <a:pt x="5379" y="1959"/>
                </a:lnTo>
                <a:lnTo>
                  <a:pt x="5430" y="1989"/>
                </a:lnTo>
                <a:lnTo>
                  <a:pt x="5481" y="2026"/>
                </a:lnTo>
                <a:lnTo>
                  <a:pt x="5532" y="2068"/>
                </a:lnTo>
                <a:lnTo>
                  <a:pt x="5558" y="2091"/>
                </a:lnTo>
                <a:lnTo>
                  <a:pt x="5581" y="2117"/>
                </a:lnTo>
                <a:lnTo>
                  <a:pt x="5603" y="2145"/>
                </a:lnTo>
                <a:lnTo>
                  <a:pt x="5624" y="2175"/>
                </a:lnTo>
                <a:lnTo>
                  <a:pt x="5643" y="2206"/>
                </a:lnTo>
                <a:lnTo>
                  <a:pt x="5659" y="2240"/>
                </a:lnTo>
                <a:lnTo>
                  <a:pt x="5675" y="2280"/>
                </a:lnTo>
                <a:lnTo>
                  <a:pt x="5689" y="2319"/>
                </a:lnTo>
                <a:lnTo>
                  <a:pt x="5700" y="2358"/>
                </a:lnTo>
                <a:lnTo>
                  <a:pt x="5709" y="2399"/>
                </a:lnTo>
                <a:lnTo>
                  <a:pt x="5714" y="2438"/>
                </a:lnTo>
                <a:lnTo>
                  <a:pt x="5718" y="2478"/>
                </a:lnTo>
                <a:lnTo>
                  <a:pt x="5718" y="2519"/>
                </a:lnTo>
                <a:lnTo>
                  <a:pt x="5716" y="2558"/>
                </a:lnTo>
                <a:lnTo>
                  <a:pt x="5708" y="2612"/>
                </a:lnTo>
                <a:lnTo>
                  <a:pt x="5697" y="2662"/>
                </a:lnTo>
                <a:lnTo>
                  <a:pt x="5683" y="2708"/>
                </a:lnTo>
                <a:lnTo>
                  <a:pt x="5666" y="2752"/>
                </a:lnTo>
                <a:lnTo>
                  <a:pt x="5646" y="2793"/>
                </a:lnTo>
                <a:lnTo>
                  <a:pt x="5624" y="2830"/>
                </a:lnTo>
                <a:lnTo>
                  <a:pt x="5601" y="2866"/>
                </a:lnTo>
                <a:lnTo>
                  <a:pt x="5575" y="2898"/>
                </a:lnTo>
                <a:lnTo>
                  <a:pt x="5547" y="2928"/>
                </a:lnTo>
                <a:lnTo>
                  <a:pt x="5517" y="2955"/>
                </a:lnTo>
                <a:lnTo>
                  <a:pt x="5487" y="2981"/>
                </a:lnTo>
                <a:lnTo>
                  <a:pt x="5456" y="3004"/>
                </a:lnTo>
                <a:lnTo>
                  <a:pt x="5424" y="3024"/>
                </a:lnTo>
                <a:lnTo>
                  <a:pt x="5390" y="3043"/>
                </a:lnTo>
                <a:lnTo>
                  <a:pt x="5357" y="3059"/>
                </a:lnTo>
                <a:lnTo>
                  <a:pt x="5324" y="3074"/>
                </a:lnTo>
                <a:lnTo>
                  <a:pt x="5258" y="3100"/>
                </a:lnTo>
                <a:lnTo>
                  <a:pt x="5195" y="3118"/>
                </a:lnTo>
                <a:lnTo>
                  <a:pt x="5164" y="3126"/>
                </a:lnTo>
                <a:lnTo>
                  <a:pt x="5135" y="3132"/>
                </a:lnTo>
                <a:lnTo>
                  <a:pt x="5081" y="3141"/>
                </a:lnTo>
                <a:lnTo>
                  <a:pt x="5035" y="3147"/>
                </a:lnTo>
                <a:lnTo>
                  <a:pt x="4998" y="3150"/>
                </a:lnTo>
                <a:lnTo>
                  <a:pt x="4960" y="3151"/>
                </a:lnTo>
                <a:lnTo>
                  <a:pt x="4958" y="3151"/>
                </a:lnTo>
                <a:lnTo>
                  <a:pt x="4908" y="3150"/>
                </a:lnTo>
                <a:lnTo>
                  <a:pt x="4860" y="3147"/>
                </a:lnTo>
                <a:lnTo>
                  <a:pt x="4812" y="3141"/>
                </a:lnTo>
                <a:lnTo>
                  <a:pt x="4768" y="3134"/>
                </a:lnTo>
                <a:lnTo>
                  <a:pt x="4725" y="3124"/>
                </a:lnTo>
                <a:lnTo>
                  <a:pt x="4683" y="3114"/>
                </a:lnTo>
                <a:lnTo>
                  <a:pt x="4643" y="3102"/>
                </a:lnTo>
                <a:lnTo>
                  <a:pt x="4606" y="3088"/>
                </a:lnTo>
                <a:lnTo>
                  <a:pt x="4569" y="3073"/>
                </a:lnTo>
                <a:lnTo>
                  <a:pt x="4535" y="3058"/>
                </a:lnTo>
                <a:lnTo>
                  <a:pt x="4472" y="3026"/>
                </a:lnTo>
                <a:lnTo>
                  <a:pt x="4415" y="2993"/>
                </a:lnTo>
                <a:lnTo>
                  <a:pt x="4367" y="2959"/>
                </a:lnTo>
                <a:lnTo>
                  <a:pt x="4336" y="2937"/>
                </a:lnTo>
                <a:lnTo>
                  <a:pt x="4303" y="2911"/>
                </a:lnTo>
                <a:lnTo>
                  <a:pt x="4264" y="2874"/>
                </a:lnTo>
                <a:lnTo>
                  <a:pt x="4243" y="2852"/>
                </a:lnTo>
                <a:lnTo>
                  <a:pt x="4222" y="2826"/>
                </a:lnTo>
                <a:lnTo>
                  <a:pt x="4201" y="2798"/>
                </a:lnTo>
                <a:lnTo>
                  <a:pt x="4180" y="2768"/>
                </a:lnTo>
                <a:lnTo>
                  <a:pt x="4159" y="2736"/>
                </a:lnTo>
                <a:lnTo>
                  <a:pt x="4140" y="2699"/>
                </a:lnTo>
                <a:lnTo>
                  <a:pt x="4123" y="2661"/>
                </a:lnTo>
                <a:lnTo>
                  <a:pt x="4108" y="2621"/>
                </a:lnTo>
                <a:lnTo>
                  <a:pt x="4092" y="2567"/>
                </a:lnTo>
                <a:lnTo>
                  <a:pt x="4084" y="2536"/>
                </a:lnTo>
                <a:lnTo>
                  <a:pt x="4073" y="2500"/>
                </a:lnTo>
                <a:lnTo>
                  <a:pt x="4067" y="2483"/>
                </a:lnTo>
                <a:lnTo>
                  <a:pt x="4061" y="2469"/>
                </a:lnTo>
                <a:lnTo>
                  <a:pt x="4058" y="2464"/>
                </a:lnTo>
                <a:lnTo>
                  <a:pt x="4054" y="2460"/>
                </a:lnTo>
                <a:lnTo>
                  <a:pt x="4051" y="2457"/>
                </a:lnTo>
                <a:lnTo>
                  <a:pt x="4048" y="2456"/>
                </a:lnTo>
                <a:lnTo>
                  <a:pt x="4036" y="2459"/>
                </a:lnTo>
                <a:lnTo>
                  <a:pt x="4023" y="2469"/>
                </a:lnTo>
                <a:lnTo>
                  <a:pt x="3998" y="2504"/>
                </a:lnTo>
                <a:lnTo>
                  <a:pt x="3975" y="2544"/>
                </a:lnTo>
                <a:lnTo>
                  <a:pt x="3959" y="2573"/>
                </a:lnTo>
                <a:lnTo>
                  <a:pt x="3911" y="2660"/>
                </a:lnTo>
                <a:lnTo>
                  <a:pt x="3875" y="2718"/>
                </a:lnTo>
                <a:lnTo>
                  <a:pt x="3843" y="2772"/>
                </a:lnTo>
                <a:lnTo>
                  <a:pt x="3800" y="2836"/>
                </a:lnTo>
                <a:lnTo>
                  <a:pt x="3746" y="2908"/>
                </a:lnTo>
                <a:lnTo>
                  <a:pt x="3716" y="2944"/>
                </a:lnTo>
                <a:lnTo>
                  <a:pt x="3683" y="2980"/>
                </a:lnTo>
                <a:lnTo>
                  <a:pt x="3647" y="3014"/>
                </a:lnTo>
                <a:lnTo>
                  <a:pt x="3608" y="3045"/>
                </a:lnTo>
                <a:lnTo>
                  <a:pt x="3568" y="3074"/>
                </a:lnTo>
                <a:lnTo>
                  <a:pt x="3547" y="3087"/>
                </a:lnTo>
                <a:lnTo>
                  <a:pt x="3525" y="3101"/>
                </a:lnTo>
                <a:lnTo>
                  <a:pt x="3479" y="3121"/>
                </a:lnTo>
                <a:lnTo>
                  <a:pt x="3432" y="3137"/>
                </a:lnTo>
                <a:lnTo>
                  <a:pt x="3407" y="3143"/>
                </a:lnTo>
                <a:lnTo>
                  <a:pt x="3382" y="3147"/>
                </a:lnTo>
                <a:lnTo>
                  <a:pt x="3356" y="3150"/>
                </a:lnTo>
                <a:lnTo>
                  <a:pt x="3329" y="3151"/>
                </a:lnTo>
                <a:lnTo>
                  <a:pt x="3302" y="3150"/>
                </a:lnTo>
                <a:lnTo>
                  <a:pt x="3274" y="3147"/>
                </a:lnTo>
                <a:lnTo>
                  <a:pt x="3218" y="3135"/>
                </a:lnTo>
                <a:lnTo>
                  <a:pt x="3189" y="3126"/>
                </a:lnTo>
                <a:lnTo>
                  <a:pt x="3161" y="3116"/>
                </a:lnTo>
                <a:lnTo>
                  <a:pt x="3104" y="3088"/>
                </a:lnTo>
                <a:lnTo>
                  <a:pt x="3070" y="3068"/>
                </a:lnTo>
                <a:lnTo>
                  <a:pt x="3040" y="3048"/>
                </a:lnTo>
                <a:lnTo>
                  <a:pt x="3013" y="3027"/>
                </a:lnTo>
                <a:lnTo>
                  <a:pt x="2989" y="3005"/>
                </a:lnTo>
                <a:lnTo>
                  <a:pt x="2966" y="2982"/>
                </a:lnTo>
                <a:lnTo>
                  <a:pt x="2946" y="2957"/>
                </a:lnTo>
                <a:lnTo>
                  <a:pt x="2911" y="2909"/>
                </a:lnTo>
                <a:lnTo>
                  <a:pt x="2883" y="2860"/>
                </a:lnTo>
                <a:lnTo>
                  <a:pt x="2860" y="2809"/>
                </a:lnTo>
                <a:lnTo>
                  <a:pt x="2841" y="2760"/>
                </a:lnTo>
                <a:lnTo>
                  <a:pt x="2824" y="2713"/>
                </a:lnTo>
                <a:lnTo>
                  <a:pt x="2791" y="2609"/>
                </a:lnTo>
                <a:lnTo>
                  <a:pt x="2775" y="2563"/>
                </a:lnTo>
                <a:lnTo>
                  <a:pt x="2762" y="2530"/>
                </a:lnTo>
                <a:lnTo>
                  <a:pt x="2755" y="2517"/>
                </a:lnTo>
                <a:lnTo>
                  <a:pt x="2748" y="2508"/>
                </a:lnTo>
                <a:lnTo>
                  <a:pt x="2741" y="2501"/>
                </a:lnTo>
                <a:lnTo>
                  <a:pt x="2733" y="2498"/>
                </a:lnTo>
                <a:lnTo>
                  <a:pt x="2725" y="2497"/>
                </a:lnTo>
                <a:lnTo>
                  <a:pt x="2716" y="2498"/>
                </a:lnTo>
                <a:lnTo>
                  <a:pt x="2694" y="2509"/>
                </a:lnTo>
                <a:lnTo>
                  <a:pt x="2665" y="2530"/>
                </a:lnTo>
                <a:lnTo>
                  <a:pt x="2631" y="2561"/>
                </a:lnTo>
                <a:lnTo>
                  <a:pt x="2484" y="2692"/>
                </a:lnTo>
                <a:lnTo>
                  <a:pt x="2415" y="2753"/>
                </a:lnTo>
                <a:lnTo>
                  <a:pt x="2349" y="2806"/>
                </a:lnTo>
                <a:lnTo>
                  <a:pt x="2293" y="2850"/>
                </a:lnTo>
                <a:lnTo>
                  <a:pt x="2224" y="2897"/>
                </a:lnTo>
                <a:lnTo>
                  <a:pt x="2186" y="2921"/>
                </a:lnTo>
                <a:lnTo>
                  <a:pt x="2146" y="2946"/>
                </a:lnTo>
                <a:lnTo>
                  <a:pt x="2058" y="2996"/>
                </a:lnTo>
                <a:lnTo>
                  <a:pt x="2011" y="3019"/>
                </a:lnTo>
                <a:lnTo>
                  <a:pt x="1962" y="3041"/>
                </a:lnTo>
                <a:lnTo>
                  <a:pt x="1912" y="3062"/>
                </a:lnTo>
                <a:lnTo>
                  <a:pt x="1861" y="3081"/>
                </a:lnTo>
                <a:lnTo>
                  <a:pt x="1807" y="3099"/>
                </a:lnTo>
                <a:lnTo>
                  <a:pt x="1754" y="3114"/>
                </a:lnTo>
                <a:lnTo>
                  <a:pt x="1698" y="3126"/>
                </a:lnTo>
                <a:lnTo>
                  <a:pt x="1642" y="3135"/>
                </a:lnTo>
                <a:lnTo>
                  <a:pt x="1530" y="3147"/>
                </a:lnTo>
                <a:lnTo>
                  <a:pt x="1476" y="3150"/>
                </a:lnTo>
                <a:lnTo>
                  <a:pt x="1423" y="3151"/>
                </a:lnTo>
                <a:lnTo>
                  <a:pt x="1372" y="3150"/>
                </a:lnTo>
                <a:lnTo>
                  <a:pt x="1322" y="3147"/>
                </a:lnTo>
                <a:lnTo>
                  <a:pt x="1273" y="3143"/>
                </a:lnTo>
                <a:lnTo>
                  <a:pt x="1227" y="3136"/>
                </a:lnTo>
                <a:lnTo>
                  <a:pt x="1183" y="3128"/>
                </a:lnTo>
                <a:lnTo>
                  <a:pt x="1139" y="3118"/>
                </a:lnTo>
                <a:lnTo>
                  <a:pt x="1098" y="3106"/>
                </a:lnTo>
                <a:lnTo>
                  <a:pt x="1059" y="3092"/>
                </a:lnTo>
                <a:lnTo>
                  <a:pt x="1021" y="3075"/>
                </a:lnTo>
                <a:lnTo>
                  <a:pt x="985" y="3058"/>
                </a:lnTo>
                <a:lnTo>
                  <a:pt x="951" y="3039"/>
                </a:lnTo>
                <a:lnTo>
                  <a:pt x="919" y="3018"/>
                </a:lnTo>
                <a:lnTo>
                  <a:pt x="888" y="2995"/>
                </a:lnTo>
                <a:lnTo>
                  <a:pt x="859" y="2971"/>
                </a:lnTo>
                <a:lnTo>
                  <a:pt x="833" y="2943"/>
                </a:lnTo>
                <a:lnTo>
                  <a:pt x="808" y="2915"/>
                </a:lnTo>
                <a:lnTo>
                  <a:pt x="771" y="2868"/>
                </a:lnTo>
                <a:lnTo>
                  <a:pt x="735" y="2818"/>
                </a:lnTo>
                <a:lnTo>
                  <a:pt x="703" y="2766"/>
                </a:lnTo>
                <a:lnTo>
                  <a:pt x="672" y="2710"/>
                </a:lnTo>
                <a:lnTo>
                  <a:pt x="644" y="2654"/>
                </a:lnTo>
                <a:lnTo>
                  <a:pt x="619" y="2594"/>
                </a:lnTo>
                <a:lnTo>
                  <a:pt x="595" y="2534"/>
                </a:lnTo>
                <a:lnTo>
                  <a:pt x="575" y="2472"/>
                </a:lnTo>
                <a:lnTo>
                  <a:pt x="564" y="2439"/>
                </a:lnTo>
                <a:lnTo>
                  <a:pt x="554" y="2416"/>
                </a:lnTo>
                <a:lnTo>
                  <a:pt x="549" y="2407"/>
                </a:lnTo>
                <a:lnTo>
                  <a:pt x="544" y="2399"/>
                </a:lnTo>
                <a:lnTo>
                  <a:pt x="533" y="2389"/>
                </a:lnTo>
                <a:lnTo>
                  <a:pt x="519" y="2382"/>
                </a:lnTo>
                <a:lnTo>
                  <a:pt x="501" y="2377"/>
                </a:lnTo>
                <a:lnTo>
                  <a:pt x="449" y="2368"/>
                </a:lnTo>
                <a:lnTo>
                  <a:pt x="307" y="2340"/>
                </a:lnTo>
                <a:lnTo>
                  <a:pt x="235" y="2326"/>
                </a:lnTo>
                <a:lnTo>
                  <a:pt x="152" y="2309"/>
                </a:lnTo>
                <a:lnTo>
                  <a:pt x="116" y="2297"/>
                </a:lnTo>
                <a:lnTo>
                  <a:pt x="100" y="2288"/>
                </a:lnTo>
                <a:lnTo>
                  <a:pt x="84" y="2278"/>
                </a:lnTo>
                <a:lnTo>
                  <a:pt x="69" y="2266"/>
                </a:lnTo>
                <a:lnTo>
                  <a:pt x="54" y="2253"/>
                </a:lnTo>
                <a:lnTo>
                  <a:pt x="42" y="2238"/>
                </a:lnTo>
                <a:lnTo>
                  <a:pt x="31" y="2222"/>
                </a:lnTo>
                <a:lnTo>
                  <a:pt x="21" y="2205"/>
                </a:lnTo>
                <a:lnTo>
                  <a:pt x="14" y="2187"/>
                </a:lnTo>
                <a:lnTo>
                  <a:pt x="8" y="2169"/>
                </a:lnTo>
                <a:lnTo>
                  <a:pt x="3" y="2150"/>
                </a:lnTo>
                <a:lnTo>
                  <a:pt x="0" y="2110"/>
                </a:lnTo>
                <a:lnTo>
                  <a:pt x="1" y="2091"/>
                </a:lnTo>
                <a:lnTo>
                  <a:pt x="4" y="2071"/>
                </a:lnTo>
                <a:lnTo>
                  <a:pt x="8" y="2055"/>
                </a:lnTo>
                <a:lnTo>
                  <a:pt x="14" y="2038"/>
                </a:lnTo>
                <a:lnTo>
                  <a:pt x="20" y="2023"/>
                </a:lnTo>
                <a:lnTo>
                  <a:pt x="28" y="2008"/>
                </a:lnTo>
                <a:lnTo>
                  <a:pt x="37" y="1993"/>
                </a:lnTo>
                <a:lnTo>
                  <a:pt x="48" y="1980"/>
                </a:lnTo>
                <a:lnTo>
                  <a:pt x="72" y="1957"/>
                </a:lnTo>
                <a:lnTo>
                  <a:pt x="98" y="1939"/>
                </a:lnTo>
                <a:lnTo>
                  <a:pt x="127" y="1925"/>
                </a:lnTo>
                <a:lnTo>
                  <a:pt x="158" y="1916"/>
                </a:lnTo>
                <a:lnTo>
                  <a:pt x="191" y="1913"/>
                </a:lnTo>
                <a:lnTo>
                  <a:pt x="212" y="1914"/>
                </a:lnTo>
                <a:lnTo>
                  <a:pt x="232" y="1917"/>
                </a:lnTo>
                <a:lnTo>
                  <a:pt x="284" y="1929"/>
                </a:lnTo>
                <a:lnTo>
                  <a:pt x="373" y="1947"/>
                </a:lnTo>
                <a:lnTo>
                  <a:pt x="449" y="1961"/>
                </a:lnTo>
                <a:lnTo>
                  <a:pt x="466" y="1963"/>
                </a:lnTo>
                <a:lnTo>
                  <a:pt x="503" y="1963"/>
                </a:lnTo>
                <a:lnTo>
                  <a:pt x="515" y="1960"/>
                </a:lnTo>
                <a:lnTo>
                  <a:pt x="524" y="1953"/>
                </a:lnTo>
                <a:lnTo>
                  <a:pt x="531" y="1944"/>
                </a:lnTo>
                <a:lnTo>
                  <a:pt x="537" y="1929"/>
                </a:lnTo>
                <a:lnTo>
                  <a:pt x="550" y="1885"/>
                </a:lnTo>
                <a:lnTo>
                  <a:pt x="557" y="1855"/>
                </a:lnTo>
                <a:lnTo>
                  <a:pt x="575" y="1790"/>
                </a:lnTo>
                <a:lnTo>
                  <a:pt x="598" y="1725"/>
                </a:lnTo>
                <a:lnTo>
                  <a:pt x="625" y="1664"/>
                </a:lnTo>
                <a:lnTo>
                  <a:pt x="639" y="1633"/>
                </a:lnTo>
                <a:lnTo>
                  <a:pt x="654" y="1604"/>
                </a:lnTo>
                <a:lnTo>
                  <a:pt x="687" y="1547"/>
                </a:lnTo>
                <a:lnTo>
                  <a:pt x="724" y="1491"/>
                </a:lnTo>
                <a:lnTo>
                  <a:pt x="764" y="1439"/>
                </a:lnTo>
                <a:lnTo>
                  <a:pt x="807" y="1389"/>
                </a:lnTo>
                <a:lnTo>
                  <a:pt x="852" y="1342"/>
                </a:lnTo>
                <a:lnTo>
                  <a:pt x="902" y="1298"/>
                </a:lnTo>
                <a:lnTo>
                  <a:pt x="953" y="1255"/>
                </a:lnTo>
                <a:lnTo>
                  <a:pt x="1007" y="1217"/>
                </a:lnTo>
                <a:lnTo>
                  <a:pt x="1065" y="1181"/>
                </a:lnTo>
                <a:lnTo>
                  <a:pt x="1124" y="1148"/>
                </a:lnTo>
                <a:lnTo>
                  <a:pt x="1187" y="1118"/>
                </a:lnTo>
                <a:lnTo>
                  <a:pt x="1251" y="1092"/>
                </a:lnTo>
                <a:lnTo>
                  <a:pt x="1285" y="1080"/>
                </a:lnTo>
                <a:lnTo>
                  <a:pt x="1324" y="1069"/>
                </a:lnTo>
                <a:lnTo>
                  <a:pt x="1366" y="1059"/>
                </a:lnTo>
                <a:lnTo>
                  <a:pt x="1412" y="1050"/>
                </a:lnTo>
                <a:lnTo>
                  <a:pt x="1463" y="1043"/>
                </a:lnTo>
                <a:lnTo>
                  <a:pt x="1514" y="1038"/>
                </a:lnTo>
                <a:lnTo>
                  <a:pt x="1568" y="1034"/>
                </a:lnTo>
                <a:lnTo>
                  <a:pt x="1625" y="1033"/>
                </a:lnTo>
                <a:lnTo>
                  <a:pt x="1677" y="1034"/>
                </a:lnTo>
                <a:lnTo>
                  <a:pt x="1734" y="1038"/>
                </a:lnTo>
                <a:lnTo>
                  <a:pt x="1790" y="1045"/>
                </a:lnTo>
                <a:lnTo>
                  <a:pt x="1849" y="1056"/>
                </a:lnTo>
                <a:lnTo>
                  <a:pt x="1877" y="1064"/>
                </a:lnTo>
                <a:lnTo>
                  <a:pt x="1905" y="1072"/>
                </a:lnTo>
                <a:lnTo>
                  <a:pt x="1958" y="1093"/>
                </a:lnTo>
                <a:lnTo>
                  <a:pt x="1984" y="1105"/>
                </a:lnTo>
                <a:lnTo>
                  <a:pt x="2009" y="1119"/>
                </a:lnTo>
                <a:lnTo>
                  <a:pt x="2032" y="1134"/>
                </a:lnTo>
                <a:lnTo>
                  <a:pt x="2054" y="1152"/>
                </a:lnTo>
                <a:lnTo>
                  <a:pt x="2088" y="1183"/>
                </a:lnTo>
                <a:lnTo>
                  <a:pt x="2118" y="1216"/>
                </a:lnTo>
                <a:lnTo>
                  <a:pt x="2145" y="1250"/>
                </a:lnTo>
                <a:lnTo>
                  <a:pt x="2167" y="1286"/>
                </a:lnTo>
                <a:lnTo>
                  <a:pt x="2185" y="1322"/>
                </a:lnTo>
                <a:lnTo>
                  <a:pt x="2201" y="1358"/>
                </a:lnTo>
                <a:lnTo>
                  <a:pt x="2213" y="1395"/>
                </a:lnTo>
                <a:lnTo>
                  <a:pt x="2223" y="1431"/>
                </a:lnTo>
                <a:lnTo>
                  <a:pt x="2230" y="1467"/>
                </a:lnTo>
                <a:lnTo>
                  <a:pt x="2236" y="1502"/>
                </a:lnTo>
                <a:lnTo>
                  <a:pt x="2239" y="1537"/>
                </a:lnTo>
                <a:lnTo>
                  <a:pt x="2240" y="1570"/>
                </a:lnTo>
                <a:lnTo>
                  <a:pt x="2241" y="1602"/>
                </a:lnTo>
                <a:lnTo>
                  <a:pt x="2240" y="1631"/>
                </a:lnTo>
                <a:lnTo>
                  <a:pt x="2235" y="1685"/>
                </a:lnTo>
                <a:lnTo>
                  <a:pt x="2231" y="1715"/>
                </a:lnTo>
                <a:lnTo>
                  <a:pt x="2224" y="1749"/>
                </a:lnTo>
                <a:lnTo>
                  <a:pt x="2215" y="1787"/>
                </a:lnTo>
                <a:lnTo>
                  <a:pt x="2203" y="1828"/>
                </a:lnTo>
                <a:lnTo>
                  <a:pt x="2187" y="1871"/>
                </a:lnTo>
                <a:lnTo>
                  <a:pt x="2167" y="1917"/>
                </a:lnTo>
                <a:lnTo>
                  <a:pt x="2142" y="1963"/>
                </a:lnTo>
                <a:lnTo>
                  <a:pt x="2111" y="2010"/>
                </a:lnTo>
                <a:lnTo>
                  <a:pt x="2077" y="2057"/>
                </a:lnTo>
                <a:lnTo>
                  <a:pt x="2057" y="2080"/>
                </a:lnTo>
                <a:lnTo>
                  <a:pt x="2036" y="2103"/>
                </a:lnTo>
                <a:lnTo>
                  <a:pt x="1988" y="2149"/>
                </a:lnTo>
                <a:lnTo>
                  <a:pt x="1961" y="2170"/>
                </a:lnTo>
                <a:lnTo>
                  <a:pt x="1933" y="2191"/>
                </a:lnTo>
                <a:lnTo>
                  <a:pt x="1903" y="2212"/>
                </a:lnTo>
                <a:lnTo>
                  <a:pt x="1872" y="2232"/>
                </a:lnTo>
                <a:lnTo>
                  <a:pt x="1802" y="2270"/>
                </a:lnTo>
                <a:lnTo>
                  <a:pt x="1764" y="2287"/>
                </a:lnTo>
                <a:lnTo>
                  <a:pt x="1724" y="2304"/>
                </a:lnTo>
                <a:lnTo>
                  <a:pt x="1637" y="2333"/>
                </a:lnTo>
                <a:lnTo>
                  <a:pt x="1580" y="2348"/>
                </a:lnTo>
                <a:lnTo>
                  <a:pt x="1519" y="2362"/>
                </a:lnTo>
                <a:lnTo>
                  <a:pt x="1455" y="2375"/>
                </a:lnTo>
                <a:lnTo>
                  <a:pt x="1387" y="2384"/>
                </a:lnTo>
                <a:lnTo>
                  <a:pt x="1315" y="2392"/>
                </a:lnTo>
                <a:lnTo>
                  <a:pt x="1237" y="2398"/>
                </a:lnTo>
                <a:lnTo>
                  <a:pt x="1154" y="2403"/>
                </a:lnTo>
                <a:lnTo>
                  <a:pt x="1066" y="2405"/>
                </a:lnTo>
                <a:lnTo>
                  <a:pt x="1017" y="2407"/>
                </a:lnTo>
                <a:lnTo>
                  <a:pt x="998" y="2412"/>
                </a:lnTo>
                <a:lnTo>
                  <a:pt x="991" y="2417"/>
                </a:lnTo>
                <a:lnTo>
                  <a:pt x="986" y="2424"/>
                </a:lnTo>
                <a:lnTo>
                  <a:pt x="982" y="2436"/>
                </a:lnTo>
                <a:lnTo>
                  <a:pt x="982" y="2449"/>
                </a:lnTo>
                <a:lnTo>
                  <a:pt x="985" y="2462"/>
                </a:lnTo>
                <a:lnTo>
                  <a:pt x="989" y="2475"/>
                </a:lnTo>
                <a:lnTo>
                  <a:pt x="1000" y="2496"/>
                </a:lnTo>
                <a:lnTo>
                  <a:pt x="1007" y="2507"/>
                </a:lnTo>
                <a:lnTo>
                  <a:pt x="1017" y="2524"/>
                </a:lnTo>
                <a:lnTo>
                  <a:pt x="1031" y="2543"/>
                </a:lnTo>
                <a:lnTo>
                  <a:pt x="1061" y="2583"/>
                </a:lnTo>
                <a:lnTo>
                  <a:pt x="1101" y="2624"/>
                </a:lnTo>
                <a:lnTo>
                  <a:pt x="1124" y="2644"/>
                </a:lnTo>
                <a:lnTo>
                  <a:pt x="1149" y="2663"/>
                </a:lnTo>
                <a:lnTo>
                  <a:pt x="1178" y="2681"/>
                </a:lnTo>
                <a:lnTo>
                  <a:pt x="1208" y="2698"/>
                </a:lnTo>
                <a:lnTo>
                  <a:pt x="1241" y="2713"/>
                </a:lnTo>
                <a:lnTo>
                  <a:pt x="1277" y="2726"/>
                </a:lnTo>
                <a:lnTo>
                  <a:pt x="1316" y="2738"/>
                </a:lnTo>
                <a:lnTo>
                  <a:pt x="1357" y="2746"/>
                </a:lnTo>
                <a:lnTo>
                  <a:pt x="1401" y="2751"/>
                </a:lnTo>
                <a:lnTo>
                  <a:pt x="1450" y="2752"/>
                </a:lnTo>
                <a:lnTo>
                  <a:pt x="1485" y="2751"/>
                </a:lnTo>
                <a:lnTo>
                  <a:pt x="1521" y="2749"/>
                </a:lnTo>
                <a:lnTo>
                  <a:pt x="1558" y="2744"/>
                </a:lnTo>
                <a:lnTo>
                  <a:pt x="1597" y="2738"/>
                </a:lnTo>
                <a:lnTo>
                  <a:pt x="1641" y="2728"/>
                </a:lnTo>
                <a:lnTo>
                  <a:pt x="1684" y="2717"/>
                </a:lnTo>
                <a:lnTo>
                  <a:pt x="1768" y="2690"/>
                </a:lnTo>
                <a:lnTo>
                  <a:pt x="1809" y="2674"/>
                </a:lnTo>
                <a:lnTo>
                  <a:pt x="1849" y="2657"/>
                </a:lnTo>
                <a:lnTo>
                  <a:pt x="1926" y="2620"/>
                </a:lnTo>
                <a:lnTo>
                  <a:pt x="2001" y="2577"/>
                </a:lnTo>
                <a:lnTo>
                  <a:pt x="2071" y="2533"/>
                </a:lnTo>
                <a:lnTo>
                  <a:pt x="2139" y="2486"/>
                </a:lnTo>
                <a:lnTo>
                  <a:pt x="2202" y="2438"/>
                </a:lnTo>
                <a:lnTo>
                  <a:pt x="2301" y="2355"/>
                </a:lnTo>
                <a:lnTo>
                  <a:pt x="2351" y="2309"/>
                </a:lnTo>
                <a:lnTo>
                  <a:pt x="2401" y="2264"/>
                </a:lnTo>
                <a:lnTo>
                  <a:pt x="2490" y="2176"/>
                </a:lnTo>
                <a:lnTo>
                  <a:pt x="2527" y="2137"/>
                </a:lnTo>
                <a:lnTo>
                  <a:pt x="2558" y="2103"/>
                </a:lnTo>
                <a:lnTo>
                  <a:pt x="2573" y="2085"/>
                </a:lnTo>
                <a:lnTo>
                  <a:pt x="2585" y="2068"/>
                </a:lnTo>
                <a:lnTo>
                  <a:pt x="2596" y="2046"/>
                </a:lnTo>
                <a:lnTo>
                  <a:pt x="2606" y="2018"/>
                </a:lnTo>
                <a:lnTo>
                  <a:pt x="2610" y="2001"/>
                </a:lnTo>
                <a:lnTo>
                  <a:pt x="2612" y="1983"/>
                </a:lnTo>
                <a:lnTo>
                  <a:pt x="2614" y="1963"/>
                </a:lnTo>
                <a:lnTo>
                  <a:pt x="2614" y="1943"/>
                </a:lnTo>
                <a:lnTo>
                  <a:pt x="2612" y="1920"/>
                </a:lnTo>
                <a:lnTo>
                  <a:pt x="2608" y="1896"/>
                </a:lnTo>
                <a:lnTo>
                  <a:pt x="2576" y="1691"/>
                </a:lnTo>
                <a:lnTo>
                  <a:pt x="2543" y="1479"/>
                </a:lnTo>
                <a:lnTo>
                  <a:pt x="2521" y="1291"/>
                </a:lnTo>
                <a:lnTo>
                  <a:pt x="2514" y="1204"/>
                </a:lnTo>
                <a:lnTo>
                  <a:pt x="2509" y="1123"/>
                </a:lnTo>
                <a:lnTo>
                  <a:pt x="2505" y="1049"/>
                </a:lnTo>
                <a:lnTo>
                  <a:pt x="2503" y="980"/>
                </a:lnTo>
                <a:lnTo>
                  <a:pt x="2503" y="919"/>
                </a:lnTo>
                <a:lnTo>
                  <a:pt x="2504" y="864"/>
                </a:lnTo>
                <a:lnTo>
                  <a:pt x="2505" y="832"/>
                </a:lnTo>
                <a:lnTo>
                  <a:pt x="2511" y="751"/>
                </a:lnTo>
                <a:lnTo>
                  <a:pt x="2518" y="696"/>
                </a:lnTo>
                <a:lnTo>
                  <a:pt x="2527" y="634"/>
                </a:lnTo>
                <a:lnTo>
                  <a:pt x="2542" y="568"/>
                </a:lnTo>
                <a:lnTo>
                  <a:pt x="2559" y="497"/>
                </a:lnTo>
                <a:lnTo>
                  <a:pt x="2581" y="426"/>
                </a:lnTo>
                <a:lnTo>
                  <a:pt x="2594" y="389"/>
                </a:lnTo>
                <a:lnTo>
                  <a:pt x="2609" y="353"/>
                </a:lnTo>
                <a:lnTo>
                  <a:pt x="2625" y="318"/>
                </a:lnTo>
                <a:lnTo>
                  <a:pt x="2642" y="283"/>
                </a:lnTo>
                <a:lnTo>
                  <a:pt x="2661" y="249"/>
                </a:lnTo>
                <a:lnTo>
                  <a:pt x="2683" y="217"/>
                </a:lnTo>
                <a:lnTo>
                  <a:pt x="2706" y="185"/>
                </a:lnTo>
                <a:lnTo>
                  <a:pt x="2730" y="155"/>
                </a:lnTo>
                <a:lnTo>
                  <a:pt x="2757" y="127"/>
                </a:lnTo>
                <a:lnTo>
                  <a:pt x="2785" y="101"/>
                </a:lnTo>
                <a:lnTo>
                  <a:pt x="2817" y="77"/>
                </a:lnTo>
                <a:lnTo>
                  <a:pt x="2833" y="66"/>
                </a:lnTo>
                <a:lnTo>
                  <a:pt x="2849" y="55"/>
                </a:lnTo>
                <a:lnTo>
                  <a:pt x="2884" y="36"/>
                </a:lnTo>
                <a:lnTo>
                  <a:pt x="2921" y="20"/>
                </a:lnTo>
                <a:lnTo>
                  <a:pt x="2934" y="16"/>
                </a:lnTo>
                <a:lnTo>
                  <a:pt x="2965" y="8"/>
                </a:lnTo>
                <a:lnTo>
                  <a:pt x="3011" y="2"/>
                </a:lnTo>
                <a:lnTo>
                  <a:pt x="3039" y="0"/>
                </a:lnTo>
                <a:lnTo>
                  <a:pt x="3070" y="0"/>
                </a:lnTo>
                <a:lnTo>
                  <a:pt x="3125" y="3"/>
                </a:lnTo>
                <a:lnTo>
                  <a:pt x="3177" y="11"/>
                </a:lnTo>
                <a:lnTo>
                  <a:pt x="3203" y="17"/>
                </a:lnTo>
                <a:lnTo>
                  <a:pt x="3228" y="24"/>
                </a:lnTo>
                <a:lnTo>
                  <a:pt x="3276" y="41"/>
                </a:lnTo>
                <a:lnTo>
                  <a:pt x="3320" y="63"/>
                </a:lnTo>
                <a:lnTo>
                  <a:pt x="3341" y="75"/>
                </a:lnTo>
                <a:lnTo>
                  <a:pt x="3363" y="88"/>
                </a:lnTo>
                <a:lnTo>
                  <a:pt x="3382" y="103"/>
                </a:lnTo>
                <a:lnTo>
                  <a:pt x="3400" y="118"/>
                </a:lnTo>
                <a:lnTo>
                  <a:pt x="3417" y="135"/>
                </a:lnTo>
                <a:lnTo>
                  <a:pt x="3433" y="153"/>
                </a:lnTo>
                <a:lnTo>
                  <a:pt x="3466" y="194"/>
                </a:lnTo>
                <a:lnTo>
                  <a:pt x="3495" y="236"/>
                </a:lnTo>
                <a:lnTo>
                  <a:pt x="3520" y="278"/>
                </a:lnTo>
                <a:lnTo>
                  <a:pt x="3540" y="322"/>
                </a:lnTo>
                <a:lnTo>
                  <a:pt x="3557" y="364"/>
                </a:lnTo>
                <a:lnTo>
                  <a:pt x="3571" y="407"/>
                </a:lnTo>
                <a:lnTo>
                  <a:pt x="3582" y="451"/>
                </a:lnTo>
                <a:lnTo>
                  <a:pt x="3590" y="494"/>
                </a:lnTo>
                <a:lnTo>
                  <a:pt x="3596" y="536"/>
                </a:lnTo>
                <a:lnTo>
                  <a:pt x="3599" y="579"/>
                </a:lnTo>
                <a:lnTo>
                  <a:pt x="3601" y="620"/>
                </a:lnTo>
                <a:lnTo>
                  <a:pt x="3600" y="661"/>
                </a:lnTo>
                <a:lnTo>
                  <a:pt x="3599" y="702"/>
                </a:lnTo>
                <a:lnTo>
                  <a:pt x="3596" y="741"/>
                </a:lnTo>
                <a:lnTo>
                  <a:pt x="3592" y="779"/>
                </a:lnTo>
                <a:lnTo>
                  <a:pt x="3587" y="817"/>
                </a:lnTo>
                <a:lnTo>
                  <a:pt x="3574" y="903"/>
                </a:lnTo>
                <a:lnTo>
                  <a:pt x="3558" y="989"/>
                </a:lnTo>
                <a:lnTo>
                  <a:pt x="3540" y="1075"/>
                </a:lnTo>
                <a:lnTo>
                  <a:pt x="3520" y="1158"/>
                </a:lnTo>
                <a:lnTo>
                  <a:pt x="3498" y="1240"/>
                </a:lnTo>
                <a:lnTo>
                  <a:pt x="3473" y="1321"/>
                </a:lnTo>
                <a:lnTo>
                  <a:pt x="3446" y="1402"/>
                </a:lnTo>
                <a:lnTo>
                  <a:pt x="3417" y="1479"/>
                </a:lnTo>
                <a:lnTo>
                  <a:pt x="3385" y="1557"/>
                </a:lnTo>
                <a:lnTo>
                  <a:pt x="3351" y="1632"/>
                </a:lnTo>
                <a:lnTo>
                  <a:pt x="3333" y="1670"/>
                </a:lnTo>
                <a:lnTo>
                  <a:pt x="3315" y="1707"/>
                </a:lnTo>
                <a:lnTo>
                  <a:pt x="3277" y="1781"/>
                </a:lnTo>
                <a:lnTo>
                  <a:pt x="3237" y="1852"/>
                </a:lnTo>
                <a:lnTo>
                  <a:pt x="3193" y="1923"/>
                </a:lnTo>
                <a:lnTo>
                  <a:pt x="3149" y="1992"/>
                </a:lnTo>
                <a:lnTo>
                  <a:pt x="3102" y="2060"/>
                </a:lnTo>
                <a:lnTo>
                  <a:pt x="3087" y="2082"/>
                </a:lnTo>
                <a:lnTo>
                  <a:pt x="3075" y="2105"/>
                </a:lnTo>
                <a:lnTo>
                  <a:pt x="3070" y="2127"/>
                </a:lnTo>
                <a:lnTo>
                  <a:pt x="3067" y="2147"/>
                </a:lnTo>
                <a:lnTo>
                  <a:pt x="3067" y="2165"/>
                </a:lnTo>
                <a:lnTo>
                  <a:pt x="3069" y="2180"/>
                </a:lnTo>
                <a:lnTo>
                  <a:pt x="3072" y="2197"/>
                </a:lnTo>
                <a:lnTo>
                  <a:pt x="3124" y="2386"/>
                </a:lnTo>
                <a:lnTo>
                  <a:pt x="3152" y="2481"/>
                </a:lnTo>
                <a:lnTo>
                  <a:pt x="3183" y="2575"/>
                </a:lnTo>
                <a:lnTo>
                  <a:pt x="3193" y="2599"/>
                </a:lnTo>
                <a:lnTo>
                  <a:pt x="3204" y="2623"/>
                </a:lnTo>
                <a:lnTo>
                  <a:pt x="3221" y="2649"/>
                </a:lnTo>
                <a:lnTo>
                  <a:pt x="3241" y="2675"/>
                </a:lnTo>
                <a:lnTo>
                  <a:pt x="3266" y="2698"/>
                </a:lnTo>
                <a:lnTo>
                  <a:pt x="3280" y="2708"/>
                </a:lnTo>
                <a:lnTo>
                  <a:pt x="3296" y="2715"/>
                </a:lnTo>
                <a:lnTo>
                  <a:pt x="3312" y="2720"/>
                </a:lnTo>
                <a:lnTo>
                  <a:pt x="3330" y="2722"/>
                </a:lnTo>
                <a:lnTo>
                  <a:pt x="3346" y="2720"/>
                </a:lnTo>
                <a:lnTo>
                  <a:pt x="3365" y="2713"/>
                </a:lnTo>
                <a:lnTo>
                  <a:pt x="3383" y="2701"/>
                </a:lnTo>
                <a:lnTo>
                  <a:pt x="3402" y="2687"/>
                </a:lnTo>
                <a:lnTo>
                  <a:pt x="3441" y="2649"/>
                </a:lnTo>
                <a:lnTo>
                  <a:pt x="3478" y="2605"/>
                </a:lnTo>
                <a:lnTo>
                  <a:pt x="3512" y="2561"/>
                </a:lnTo>
                <a:lnTo>
                  <a:pt x="3539" y="2524"/>
                </a:lnTo>
                <a:lnTo>
                  <a:pt x="3564" y="2486"/>
                </a:lnTo>
                <a:lnTo>
                  <a:pt x="3622" y="2393"/>
                </a:lnTo>
                <a:lnTo>
                  <a:pt x="3650" y="2345"/>
                </a:lnTo>
                <a:lnTo>
                  <a:pt x="3680" y="2291"/>
                </a:lnTo>
                <a:lnTo>
                  <a:pt x="3713" y="2229"/>
                </a:lnTo>
                <a:lnTo>
                  <a:pt x="3747" y="2161"/>
                </a:lnTo>
                <a:lnTo>
                  <a:pt x="3782" y="2086"/>
                </a:lnTo>
                <a:lnTo>
                  <a:pt x="3816" y="2008"/>
                </a:lnTo>
                <a:lnTo>
                  <a:pt x="3848" y="1924"/>
                </a:lnTo>
                <a:lnTo>
                  <a:pt x="3878" y="1837"/>
                </a:lnTo>
                <a:lnTo>
                  <a:pt x="3906" y="1748"/>
                </a:lnTo>
                <a:lnTo>
                  <a:pt x="3928" y="1657"/>
                </a:lnTo>
                <a:lnTo>
                  <a:pt x="3944" y="1565"/>
                </a:lnTo>
                <a:lnTo>
                  <a:pt x="3950" y="1518"/>
                </a:lnTo>
                <a:lnTo>
                  <a:pt x="3955" y="1471"/>
                </a:lnTo>
                <a:lnTo>
                  <a:pt x="3956" y="1453"/>
                </a:lnTo>
                <a:lnTo>
                  <a:pt x="3957" y="1411"/>
                </a:lnTo>
                <a:lnTo>
                  <a:pt x="3956" y="1347"/>
                </a:lnTo>
                <a:lnTo>
                  <a:pt x="3951" y="1268"/>
                </a:lnTo>
                <a:lnTo>
                  <a:pt x="3949" y="1249"/>
                </a:lnTo>
                <a:lnTo>
                  <a:pt x="3949" y="1228"/>
                </a:lnTo>
                <a:lnTo>
                  <a:pt x="3950" y="1202"/>
                </a:lnTo>
                <a:lnTo>
                  <a:pt x="3954" y="1173"/>
                </a:lnTo>
                <a:lnTo>
                  <a:pt x="3961" y="1142"/>
                </a:lnTo>
                <a:lnTo>
                  <a:pt x="3967" y="1127"/>
                </a:lnTo>
                <a:lnTo>
                  <a:pt x="3973" y="1113"/>
                </a:lnTo>
                <a:lnTo>
                  <a:pt x="3981" y="1099"/>
                </a:lnTo>
                <a:lnTo>
                  <a:pt x="3991" y="1086"/>
                </a:lnTo>
                <a:lnTo>
                  <a:pt x="4002" y="1074"/>
                </a:lnTo>
                <a:lnTo>
                  <a:pt x="4015" y="1064"/>
                </a:lnTo>
                <a:lnTo>
                  <a:pt x="4029" y="1055"/>
                </a:lnTo>
                <a:lnTo>
                  <a:pt x="4045" y="1048"/>
                </a:lnTo>
                <a:lnTo>
                  <a:pt x="4062" y="1042"/>
                </a:lnTo>
                <a:lnTo>
                  <a:pt x="4080" y="1038"/>
                </a:lnTo>
                <a:lnTo>
                  <a:pt x="4100" y="1035"/>
                </a:lnTo>
                <a:lnTo>
                  <a:pt x="4120" y="1035"/>
                </a:lnTo>
                <a:lnTo>
                  <a:pt x="4138" y="1035"/>
                </a:lnTo>
                <a:lnTo>
                  <a:pt x="4155" y="1037"/>
                </a:lnTo>
                <a:lnTo>
                  <a:pt x="4186" y="1044"/>
                </a:lnTo>
                <a:lnTo>
                  <a:pt x="4213" y="1056"/>
                </a:lnTo>
                <a:lnTo>
                  <a:pt x="4225" y="1063"/>
                </a:lnTo>
                <a:lnTo>
                  <a:pt x="4236" y="1071"/>
                </a:lnTo>
                <a:lnTo>
                  <a:pt x="4257" y="1088"/>
                </a:lnTo>
                <a:lnTo>
                  <a:pt x="4274" y="1107"/>
                </a:lnTo>
                <a:lnTo>
                  <a:pt x="4289" y="1128"/>
                </a:lnTo>
                <a:lnTo>
                  <a:pt x="4301" y="1151"/>
                </a:lnTo>
                <a:lnTo>
                  <a:pt x="4320" y="1194"/>
                </a:lnTo>
                <a:lnTo>
                  <a:pt x="4330" y="1233"/>
                </a:lnTo>
                <a:lnTo>
                  <a:pt x="4337" y="1275"/>
                </a:lnTo>
                <a:lnTo>
                  <a:pt x="4340" y="1332"/>
                </a:lnTo>
                <a:lnTo>
                  <a:pt x="4372" y="1728"/>
                </a:lnTo>
                <a:lnTo>
                  <a:pt x="4398" y="2019"/>
                </a:lnTo>
                <a:lnTo>
                  <a:pt x="4411" y="2150"/>
                </a:lnTo>
                <a:lnTo>
                  <a:pt x="4423" y="2259"/>
                </a:lnTo>
                <a:lnTo>
                  <a:pt x="4427" y="2283"/>
                </a:lnTo>
                <a:lnTo>
                  <a:pt x="4439" y="2343"/>
                </a:lnTo>
                <a:lnTo>
                  <a:pt x="4451" y="2384"/>
                </a:lnTo>
                <a:lnTo>
                  <a:pt x="4465" y="2429"/>
                </a:lnTo>
                <a:lnTo>
                  <a:pt x="4483" y="2476"/>
                </a:lnTo>
                <a:lnTo>
                  <a:pt x="4494" y="2501"/>
                </a:lnTo>
                <a:lnTo>
                  <a:pt x="4506" y="2526"/>
                </a:lnTo>
                <a:lnTo>
                  <a:pt x="4533" y="2575"/>
                </a:lnTo>
                <a:lnTo>
                  <a:pt x="4549" y="2599"/>
                </a:lnTo>
                <a:lnTo>
                  <a:pt x="4566" y="2623"/>
                </a:lnTo>
                <a:lnTo>
                  <a:pt x="4605" y="2667"/>
                </a:lnTo>
                <a:lnTo>
                  <a:pt x="4649" y="2707"/>
                </a:lnTo>
                <a:lnTo>
                  <a:pt x="4674" y="2724"/>
                </a:lnTo>
                <a:lnTo>
                  <a:pt x="4700" y="2741"/>
                </a:lnTo>
                <a:lnTo>
                  <a:pt x="4729" y="2755"/>
                </a:lnTo>
                <a:lnTo>
                  <a:pt x="4759" y="2767"/>
                </a:lnTo>
                <a:lnTo>
                  <a:pt x="4791" y="2777"/>
                </a:lnTo>
                <a:lnTo>
                  <a:pt x="4824" y="2784"/>
                </a:lnTo>
                <a:lnTo>
                  <a:pt x="4861" y="2788"/>
                </a:lnTo>
                <a:lnTo>
                  <a:pt x="4899" y="2790"/>
                </a:lnTo>
                <a:lnTo>
                  <a:pt x="4937" y="2791"/>
                </a:lnTo>
                <a:lnTo>
                  <a:pt x="4982" y="2790"/>
                </a:lnTo>
                <a:lnTo>
                  <a:pt x="5025" y="2786"/>
                </a:lnTo>
                <a:lnTo>
                  <a:pt x="5065" y="2781"/>
                </a:lnTo>
                <a:lnTo>
                  <a:pt x="5103" y="2773"/>
                </a:lnTo>
                <a:lnTo>
                  <a:pt x="5139" y="2763"/>
                </a:lnTo>
                <a:lnTo>
                  <a:pt x="5171" y="2750"/>
                </a:lnTo>
                <a:lnTo>
                  <a:pt x="5201" y="2736"/>
                </a:lnTo>
                <a:lnTo>
                  <a:pt x="5227" y="2719"/>
                </a:lnTo>
                <a:lnTo>
                  <a:pt x="5251" y="2700"/>
                </a:lnTo>
                <a:lnTo>
                  <a:pt x="5273" y="2680"/>
                </a:lnTo>
                <a:lnTo>
                  <a:pt x="5291" y="2658"/>
                </a:lnTo>
                <a:lnTo>
                  <a:pt x="5306" y="2634"/>
                </a:lnTo>
                <a:lnTo>
                  <a:pt x="5318" y="2609"/>
                </a:lnTo>
                <a:lnTo>
                  <a:pt x="5326" y="2580"/>
                </a:lnTo>
                <a:lnTo>
                  <a:pt x="5332" y="2551"/>
                </a:lnTo>
                <a:lnTo>
                  <a:pt x="5334" y="2520"/>
                </a:lnTo>
                <a:lnTo>
                  <a:pt x="5334" y="2507"/>
                </a:lnTo>
                <a:lnTo>
                  <a:pt x="5332" y="2487"/>
                </a:lnTo>
                <a:lnTo>
                  <a:pt x="5324" y="2460"/>
                </a:lnTo>
                <a:lnTo>
                  <a:pt x="5317" y="2445"/>
                </a:lnTo>
                <a:lnTo>
                  <a:pt x="5308" y="2429"/>
                </a:lnTo>
                <a:lnTo>
                  <a:pt x="5282" y="2394"/>
                </a:lnTo>
                <a:lnTo>
                  <a:pt x="5263" y="2375"/>
                </a:lnTo>
                <a:lnTo>
                  <a:pt x="5241" y="2354"/>
                </a:lnTo>
                <a:lnTo>
                  <a:pt x="5229" y="2344"/>
                </a:lnTo>
                <a:lnTo>
                  <a:pt x="5215" y="2333"/>
                </a:lnTo>
                <a:lnTo>
                  <a:pt x="5186" y="2312"/>
                </a:lnTo>
                <a:lnTo>
                  <a:pt x="5151" y="2291"/>
                </a:lnTo>
                <a:lnTo>
                  <a:pt x="5111" y="2269"/>
                </a:lnTo>
                <a:lnTo>
                  <a:pt x="5048" y="2234"/>
                </a:lnTo>
                <a:lnTo>
                  <a:pt x="4970" y="2187"/>
                </a:lnTo>
                <a:lnTo>
                  <a:pt x="4893" y="2136"/>
                </a:lnTo>
                <a:lnTo>
                  <a:pt x="4858" y="2110"/>
                </a:lnTo>
                <a:lnTo>
                  <a:pt x="4830" y="2087"/>
                </a:lnTo>
                <a:lnTo>
                  <a:pt x="4817" y="2077"/>
                </a:lnTo>
                <a:lnTo>
                  <a:pt x="4793" y="2055"/>
                </a:lnTo>
                <a:lnTo>
                  <a:pt x="4771" y="2034"/>
                </a:lnTo>
                <a:lnTo>
                  <a:pt x="4732" y="1990"/>
                </a:lnTo>
                <a:lnTo>
                  <a:pt x="4714" y="1969"/>
                </a:lnTo>
                <a:lnTo>
                  <a:pt x="4699" y="1947"/>
                </a:lnTo>
                <a:lnTo>
                  <a:pt x="4686" y="1926"/>
                </a:lnTo>
                <a:lnTo>
                  <a:pt x="4674" y="1905"/>
                </a:lnTo>
                <a:lnTo>
                  <a:pt x="4664" y="1884"/>
                </a:lnTo>
                <a:lnTo>
                  <a:pt x="4655" y="1863"/>
                </a:lnTo>
                <a:lnTo>
                  <a:pt x="4641" y="1822"/>
                </a:lnTo>
                <a:lnTo>
                  <a:pt x="4632" y="1783"/>
                </a:lnTo>
                <a:lnTo>
                  <a:pt x="4627" y="1744"/>
                </a:lnTo>
                <a:lnTo>
                  <a:pt x="4625" y="1708"/>
                </a:lnTo>
                <a:lnTo>
                  <a:pt x="4627" y="1674"/>
                </a:lnTo>
                <a:lnTo>
                  <a:pt x="4631" y="1643"/>
                </a:lnTo>
                <a:lnTo>
                  <a:pt x="4636" y="1613"/>
                </a:lnTo>
                <a:lnTo>
                  <a:pt x="4643" y="1588"/>
                </a:lnTo>
                <a:lnTo>
                  <a:pt x="4650" y="1565"/>
                </a:lnTo>
                <a:lnTo>
                  <a:pt x="4664" y="1531"/>
                </a:lnTo>
                <a:lnTo>
                  <a:pt x="4675" y="1509"/>
                </a:lnTo>
                <a:lnTo>
                  <a:pt x="4687" y="1487"/>
                </a:lnTo>
                <a:lnTo>
                  <a:pt x="4713" y="1446"/>
                </a:lnTo>
                <a:lnTo>
                  <a:pt x="4744" y="1407"/>
                </a:lnTo>
                <a:lnTo>
                  <a:pt x="4778" y="1369"/>
                </a:lnTo>
                <a:lnTo>
                  <a:pt x="4815" y="1333"/>
                </a:lnTo>
                <a:lnTo>
                  <a:pt x="4856" y="1300"/>
                </a:lnTo>
                <a:lnTo>
                  <a:pt x="4902" y="1267"/>
                </a:lnTo>
                <a:lnTo>
                  <a:pt x="4950" y="1238"/>
                </a:lnTo>
                <a:lnTo>
                  <a:pt x="5003" y="1210"/>
                </a:lnTo>
                <a:lnTo>
                  <a:pt x="5059" y="1185"/>
                </a:lnTo>
                <a:lnTo>
                  <a:pt x="5118" y="1161"/>
                </a:lnTo>
                <a:lnTo>
                  <a:pt x="5182" y="1139"/>
                </a:lnTo>
                <a:lnTo>
                  <a:pt x="5248" y="1119"/>
                </a:lnTo>
                <a:lnTo>
                  <a:pt x="5319" y="1101"/>
                </a:lnTo>
                <a:lnTo>
                  <a:pt x="5392" y="1086"/>
                </a:lnTo>
                <a:lnTo>
                  <a:pt x="5470" y="1072"/>
                </a:lnTo>
                <a:lnTo>
                  <a:pt x="5545" y="1061"/>
                </a:lnTo>
                <a:lnTo>
                  <a:pt x="5617" y="1053"/>
                </a:lnTo>
                <a:lnTo>
                  <a:pt x="5687" y="1046"/>
                </a:lnTo>
                <a:lnTo>
                  <a:pt x="5752" y="1042"/>
                </a:lnTo>
                <a:lnTo>
                  <a:pt x="5812" y="1038"/>
                </a:lnTo>
                <a:lnTo>
                  <a:pt x="5866" y="1036"/>
                </a:lnTo>
                <a:lnTo>
                  <a:pt x="5952" y="1035"/>
                </a:lnTo>
                <a:lnTo>
                  <a:pt x="6016" y="1035"/>
                </a:lnTo>
                <a:lnTo>
                  <a:pt x="6122" y="1036"/>
                </a:lnTo>
                <a:lnTo>
                  <a:pt x="6222" y="1039"/>
                </a:lnTo>
                <a:lnTo>
                  <a:pt x="6271" y="1042"/>
                </a:lnTo>
                <a:lnTo>
                  <a:pt x="6318" y="1045"/>
                </a:lnTo>
                <a:lnTo>
                  <a:pt x="6409" y="1053"/>
                </a:lnTo>
                <a:lnTo>
                  <a:pt x="6495" y="1063"/>
                </a:lnTo>
                <a:lnTo>
                  <a:pt x="6577" y="1074"/>
                </a:lnTo>
                <a:lnTo>
                  <a:pt x="6654" y="1087"/>
                </a:lnTo>
                <a:lnTo>
                  <a:pt x="6726" y="1101"/>
                </a:lnTo>
                <a:lnTo>
                  <a:pt x="6795" y="1117"/>
                </a:lnTo>
                <a:lnTo>
                  <a:pt x="6859" y="1134"/>
                </a:lnTo>
                <a:lnTo>
                  <a:pt x="6919" y="1153"/>
                </a:lnTo>
                <a:lnTo>
                  <a:pt x="6975" y="1172"/>
                </a:lnTo>
                <a:lnTo>
                  <a:pt x="7027" y="1192"/>
                </a:lnTo>
                <a:lnTo>
                  <a:pt x="7077" y="1212"/>
                </a:lnTo>
                <a:lnTo>
                  <a:pt x="7163" y="1254"/>
                </a:lnTo>
                <a:lnTo>
                  <a:pt x="7203" y="1277"/>
                </a:lnTo>
                <a:lnTo>
                  <a:pt x="7238" y="1299"/>
                </a:lnTo>
                <a:lnTo>
                  <a:pt x="7299" y="1342"/>
                </a:lnTo>
                <a:lnTo>
                  <a:pt x="7327" y="1363"/>
                </a:lnTo>
                <a:lnTo>
                  <a:pt x="7351" y="1383"/>
                </a:lnTo>
                <a:lnTo>
                  <a:pt x="7392" y="1424"/>
                </a:lnTo>
                <a:lnTo>
                  <a:pt x="7423" y="1460"/>
                </a:lnTo>
                <a:lnTo>
                  <a:pt x="7446" y="1492"/>
                </a:lnTo>
                <a:lnTo>
                  <a:pt x="7464" y="1519"/>
                </a:lnTo>
                <a:lnTo>
                  <a:pt x="7474" y="1538"/>
                </a:lnTo>
                <a:lnTo>
                  <a:pt x="7495" y="1583"/>
                </a:lnTo>
                <a:lnTo>
                  <a:pt x="7514" y="1629"/>
                </a:lnTo>
                <a:lnTo>
                  <a:pt x="7531" y="1676"/>
                </a:lnTo>
                <a:lnTo>
                  <a:pt x="7547" y="1723"/>
                </a:lnTo>
                <a:lnTo>
                  <a:pt x="7556" y="1753"/>
                </a:lnTo>
                <a:lnTo>
                  <a:pt x="7561" y="1765"/>
                </a:lnTo>
                <a:lnTo>
                  <a:pt x="7568" y="1774"/>
                </a:lnTo>
                <a:lnTo>
                  <a:pt x="7577" y="1781"/>
                </a:lnTo>
                <a:lnTo>
                  <a:pt x="7590" y="1786"/>
                </a:lnTo>
                <a:lnTo>
                  <a:pt x="7608" y="1790"/>
                </a:lnTo>
                <a:lnTo>
                  <a:pt x="7631" y="1791"/>
                </a:lnTo>
                <a:lnTo>
                  <a:pt x="7677" y="1795"/>
                </a:lnTo>
                <a:lnTo>
                  <a:pt x="7715" y="1798"/>
                </a:lnTo>
                <a:lnTo>
                  <a:pt x="7760" y="1802"/>
                </a:lnTo>
                <a:lnTo>
                  <a:pt x="7803" y="1806"/>
                </a:lnTo>
                <a:lnTo>
                  <a:pt x="7855" y="1814"/>
                </a:lnTo>
                <a:lnTo>
                  <a:pt x="7924" y="1827"/>
                </a:lnTo>
                <a:lnTo>
                  <a:pt x="7941" y="1832"/>
                </a:lnTo>
                <a:lnTo>
                  <a:pt x="7958" y="1838"/>
                </a:lnTo>
                <a:lnTo>
                  <a:pt x="7974" y="1847"/>
                </a:lnTo>
                <a:lnTo>
                  <a:pt x="7990" y="1856"/>
                </a:lnTo>
                <a:lnTo>
                  <a:pt x="8004" y="1868"/>
                </a:lnTo>
                <a:lnTo>
                  <a:pt x="8018" y="1882"/>
                </a:lnTo>
                <a:lnTo>
                  <a:pt x="8030" y="1896"/>
                </a:lnTo>
                <a:lnTo>
                  <a:pt x="8041" y="1912"/>
                </a:lnTo>
                <a:lnTo>
                  <a:pt x="8051" y="1929"/>
                </a:lnTo>
                <a:lnTo>
                  <a:pt x="8059" y="1947"/>
                </a:lnTo>
                <a:lnTo>
                  <a:pt x="8065" y="1966"/>
                </a:lnTo>
                <a:lnTo>
                  <a:pt x="8069" y="1986"/>
                </a:lnTo>
                <a:lnTo>
                  <a:pt x="8072" y="2007"/>
                </a:lnTo>
                <a:lnTo>
                  <a:pt x="8072" y="2027"/>
                </a:lnTo>
                <a:lnTo>
                  <a:pt x="8071" y="2047"/>
                </a:lnTo>
                <a:lnTo>
                  <a:pt x="8068" y="2067"/>
                </a:lnTo>
                <a:lnTo>
                  <a:pt x="8063" y="2083"/>
                </a:lnTo>
                <a:lnTo>
                  <a:pt x="8058" y="2099"/>
                </a:lnTo>
                <a:lnTo>
                  <a:pt x="8043" y="2130"/>
                </a:lnTo>
                <a:lnTo>
                  <a:pt x="8023" y="2156"/>
                </a:lnTo>
                <a:lnTo>
                  <a:pt x="8012" y="2167"/>
                </a:lnTo>
                <a:lnTo>
                  <a:pt x="7999" y="2178"/>
                </a:lnTo>
                <a:lnTo>
                  <a:pt x="7986" y="2188"/>
                </a:lnTo>
                <a:lnTo>
                  <a:pt x="7972" y="2196"/>
                </a:lnTo>
                <a:lnTo>
                  <a:pt x="7957" y="2203"/>
                </a:lnTo>
                <a:lnTo>
                  <a:pt x="7942" y="2210"/>
                </a:lnTo>
                <a:lnTo>
                  <a:pt x="7926" y="2214"/>
                </a:lnTo>
                <a:lnTo>
                  <a:pt x="7910" y="2218"/>
                </a:lnTo>
                <a:lnTo>
                  <a:pt x="7876" y="2221"/>
                </a:lnTo>
                <a:lnTo>
                  <a:pt x="7837" y="2217"/>
                </a:lnTo>
                <a:lnTo>
                  <a:pt x="7760" y="2205"/>
                </a:lnTo>
                <a:lnTo>
                  <a:pt x="7706" y="2199"/>
                </a:lnTo>
                <a:lnTo>
                  <a:pt x="7674" y="2196"/>
                </a:lnTo>
                <a:lnTo>
                  <a:pt x="7661" y="2195"/>
                </a:lnTo>
                <a:lnTo>
                  <a:pt x="7638" y="2196"/>
                </a:lnTo>
                <a:lnTo>
                  <a:pt x="7620" y="2198"/>
                </a:lnTo>
                <a:lnTo>
                  <a:pt x="7607" y="2202"/>
                </a:lnTo>
                <a:lnTo>
                  <a:pt x="7597" y="2208"/>
                </a:lnTo>
                <a:lnTo>
                  <a:pt x="7589" y="2217"/>
                </a:lnTo>
                <a:lnTo>
                  <a:pt x="7584" y="2229"/>
                </a:lnTo>
                <a:lnTo>
                  <a:pt x="7577" y="2262"/>
                </a:lnTo>
                <a:lnTo>
                  <a:pt x="7568" y="2310"/>
                </a:lnTo>
                <a:lnTo>
                  <a:pt x="7556" y="2357"/>
                </a:lnTo>
                <a:lnTo>
                  <a:pt x="7541" y="2405"/>
                </a:lnTo>
                <a:lnTo>
                  <a:pt x="7525" y="2450"/>
                </a:lnTo>
                <a:lnTo>
                  <a:pt x="7503" y="2506"/>
                </a:lnTo>
                <a:lnTo>
                  <a:pt x="7478" y="2559"/>
                </a:lnTo>
                <a:lnTo>
                  <a:pt x="7449" y="2612"/>
                </a:lnTo>
                <a:lnTo>
                  <a:pt x="7418" y="2662"/>
                </a:lnTo>
                <a:lnTo>
                  <a:pt x="7385" y="2710"/>
                </a:lnTo>
                <a:lnTo>
                  <a:pt x="7349" y="2757"/>
                </a:lnTo>
                <a:lnTo>
                  <a:pt x="7310" y="2801"/>
                </a:lnTo>
                <a:lnTo>
                  <a:pt x="7269" y="2844"/>
                </a:lnTo>
                <a:lnTo>
                  <a:pt x="7227" y="2885"/>
                </a:lnTo>
                <a:lnTo>
                  <a:pt x="7181" y="2922"/>
                </a:lnTo>
                <a:lnTo>
                  <a:pt x="7134" y="2958"/>
                </a:lnTo>
                <a:lnTo>
                  <a:pt x="7085" y="2992"/>
                </a:lnTo>
                <a:lnTo>
                  <a:pt x="7033" y="3023"/>
                </a:lnTo>
                <a:lnTo>
                  <a:pt x="6981" y="3051"/>
                </a:lnTo>
                <a:lnTo>
                  <a:pt x="6926" y="3076"/>
                </a:lnTo>
                <a:lnTo>
                  <a:pt x="6869" y="3099"/>
                </a:lnTo>
                <a:lnTo>
                  <a:pt x="6840" y="3109"/>
                </a:lnTo>
                <a:lnTo>
                  <a:pt x="6806" y="3118"/>
                </a:lnTo>
                <a:lnTo>
                  <a:pt x="6766" y="3127"/>
                </a:lnTo>
                <a:lnTo>
                  <a:pt x="6722" y="3135"/>
                </a:lnTo>
                <a:lnTo>
                  <a:pt x="6673" y="3141"/>
                </a:lnTo>
                <a:lnTo>
                  <a:pt x="6618" y="3147"/>
                </a:lnTo>
                <a:lnTo>
                  <a:pt x="6559" y="3150"/>
                </a:lnTo>
                <a:lnTo>
                  <a:pt x="6495" y="3152"/>
                </a:lnTo>
                <a:close/>
                <a:moveTo>
                  <a:pt x="7093" y="2182"/>
                </a:moveTo>
                <a:lnTo>
                  <a:pt x="6952" y="2187"/>
                </a:lnTo>
                <a:lnTo>
                  <a:pt x="6887" y="2191"/>
                </a:lnTo>
                <a:lnTo>
                  <a:pt x="6828" y="2197"/>
                </a:lnTo>
                <a:lnTo>
                  <a:pt x="6771" y="2203"/>
                </a:lnTo>
                <a:lnTo>
                  <a:pt x="6719" y="2210"/>
                </a:lnTo>
                <a:lnTo>
                  <a:pt x="6671" y="2219"/>
                </a:lnTo>
                <a:lnTo>
                  <a:pt x="6625" y="2229"/>
                </a:lnTo>
                <a:lnTo>
                  <a:pt x="6584" y="2240"/>
                </a:lnTo>
                <a:lnTo>
                  <a:pt x="6546" y="2253"/>
                </a:lnTo>
                <a:lnTo>
                  <a:pt x="6511" y="2267"/>
                </a:lnTo>
                <a:lnTo>
                  <a:pt x="6478" y="2282"/>
                </a:lnTo>
                <a:lnTo>
                  <a:pt x="6449" y="2298"/>
                </a:lnTo>
                <a:lnTo>
                  <a:pt x="6422" y="2316"/>
                </a:lnTo>
                <a:lnTo>
                  <a:pt x="6398" y="2335"/>
                </a:lnTo>
                <a:lnTo>
                  <a:pt x="6387" y="2345"/>
                </a:lnTo>
                <a:lnTo>
                  <a:pt x="6377" y="2355"/>
                </a:lnTo>
                <a:lnTo>
                  <a:pt x="6358" y="2376"/>
                </a:lnTo>
                <a:lnTo>
                  <a:pt x="6343" y="2397"/>
                </a:lnTo>
                <a:lnTo>
                  <a:pt x="6329" y="2420"/>
                </a:lnTo>
                <a:lnTo>
                  <a:pt x="6318" y="2443"/>
                </a:lnTo>
                <a:lnTo>
                  <a:pt x="6308" y="2468"/>
                </a:lnTo>
                <a:lnTo>
                  <a:pt x="6299" y="2496"/>
                </a:lnTo>
                <a:lnTo>
                  <a:pt x="6296" y="2509"/>
                </a:lnTo>
                <a:lnTo>
                  <a:pt x="6293" y="2524"/>
                </a:lnTo>
                <a:lnTo>
                  <a:pt x="6288" y="2553"/>
                </a:lnTo>
                <a:lnTo>
                  <a:pt x="6287" y="2567"/>
                </a:lnTo>
                <a:lnTo>
                  <a:pt x="6288" y="2581"/>
                </a:lnTo>
                <a:lnTo>
                  <a:pt x="6289" y="2599"/>
                </a:lnTo>
                <a:lnTo>
                  <a:pt x="6293" y="2621"/>
                </a:lnTo>
                <a:lnTo>
                  <a:pt x="6299" y="2643"/>
                </a:lnTo>
                <a:lnTo>
                  <a:pt x="6309" y="2665"/>
                </a:lnTo>
                <a:lnTo>
                  <a:pt x="6323" y="2687"/>
                </a:lnTo>
                <a:lnTo>
                  <a:pt x="6335" y="2700"/>
                </a:lnTo>
                <a:lnTo>
                  <a:pt x="6349" y="2712"/>
                </a:lnTo>
                <a:lnTo>
                  <a:pt x="6363" y="2723"/>
                </a:lnTo>
                <a:lnTo>
                  <a:pt x="6381" y="2732"/>
                </a:lnTo>
                <a:lnTo>
                  <a:pt x="6398" y="2739"/>
                </a:lnTo>
                <a:lnTo>
                  <a:pt x="6417" y="2745"/>
                </a:lnTo>
                <a:lnTo>
                  <a:pt x="6438" y="2749"/>
                </a:lnTo>
                <a:lnTo>
                  <a:pt x="6459" y="2751"/>
                </a:lnTo>
                <a:lnTo>
                  <a:pt x="6476" y="2751"/>
                </a:lnTo>
                <a:lnTo>
                  <a:pt x="6496" y="2751"/>
                </a:lnTo>
                <a:lnTo>
                  <a:pt x="6525" y="2749"/>
                </a:lnTo>
                <a:lnTo>
                  <a:pt x="6559" y="2746"/>
                </a:lnTo>
                <a:lnTo>
                  <a:pt x="6598" y="2741"/>
                </a:lnTo>
                <a:lnTo>
                  <a:pt x="6643" y="2733"/>
                </a:lnTo>
                <a:lnTo>
                  <a:pt x="6691" y="2721"/>
                </a:lnTo>
                <a:lnTo>
                  <a:pt x="6741" y="2706"/>
                </a:lnTo>
                <a:lnTo>
                  <a:pt x="6795" y="2687"/>
                </a:lnTo>
                <a:lnTo>
                  <a:pt x="6848" y="2662"/>
                </a:lnTo>
                <a:lnTo>
                  <a:pt x="6901" y="2633"/>
                </a:lnTo>
                <a:lnTo>
                  <a:pt x="6928" y="2615"/>
                </a:lnTo>
                <a:lnTo>
                  <a:pt x="6954" y="2596"/>
                </a:lnTo>
                <a:lnTo>
                  <a:pt x="6979" y="2575"/>
                </a:lnTo>
                <a:lnTo>
                  <a:pt x="7004" y="2553"/>
                </a:lnTo>
                <a:lnTo>
                  <a:pt x="7028" y="2529"/>
                </a:lnTo>
                <a:lnTo>
                  <a:pt x="7052" y="2504"/>
                </a:lnTo>
                <a:lnTo>
                  <a:pt x="7075" y="2475"/>
                </a:lnTo>
                <a:lnTo>
                  <a:pt x="7096" y="2445"/>
                </a:lnTo>
                <a:lnTo>
                  <a:pt x="7116" y="2414"/>
                </a:lnTo>
                <a:lnTo>
                  <a:pt x="7135" y="2380"/>
                </a:lnTo>
                <a:lnTo>
                  <a:pt x="7152" y="2343"/>
                </a:lnTo>
                <a:lnTo>
                  <a:pt x="7168" y="2304"/>
                </a:lnTo>
                <a:lnTo>
                  <a:pt x="7173" y="2290"/>
                </a:lnTo>
                <a:lnTo>
                  <a:pt x="7177" y="2278"/>
                </a:lnTo>
                <a:lnTo>
                  <a:pt x="7181" y="2264"/>
                </a:lnTo>
                <a:lnTo>
                  <a:pt x="7183" y="2248"/>
                </a:lnTo>
                <a:lnTo>
                  <a:pt x="7183" y="2231"/>
                </a:lnTo>
                <a:lnTo>
                  <a:pt x="7180" y="2215"/>
                </a:lnTo>
                <a:lnTo>
                  <a:pt x="7174" y="2201"/>
                </a:lnTo>
                <a:lnTo>
                  <a:pt x="7163" y="2192"/>
                </a:lnTo>
                <a:lnTo>
                  <a:pt x="7146" y="2186"/>
                </a:lnTo>
                <a:lnTo>
                  <a:pt x="7136" y="2184"/>
                </a:lnTo>
                <a:lnTo>
                  <a:pt x="7125" y="2183"/>
                </a:lnTo>
                <a:lnTo>
                  <a:pt x="7099" y="2182"/>
                </a:lnTo>
                <a:lnTo>
                  <a:pt x="7093" y="2182"/>
                </a:lnTo>
                <a:close/>
                <a:moveTo>
                  <a:pt x="1609" y="1416"/>
                </a:moveTo>
                <a:lnTo>
                  <a:pt x="1564" y="1418"/>
                </a:lnTo>
                <a:lnTo>
                  <a:pt x="1523" y="1423"/>
                </a:lnTo>
                <a:lnTo>
                  <a:pt x="1484" y="1431"/>
                </a:lnTo>
                <a:lnTo>
                  <a:pt x="1450" y="1440"/>
                </a:lnTo>
                <a:lnTo>
                  <a:pt x="1398" y="1456"/>
                </a:lnTo>
                <a:lnTo>
                  <a:pt x="1377" y="1465"/>
                </a:lnTo>
                <a:lnTo>
                  <a:pt x="1302" y="1500"/>
                </a:lnTo>
                <a:lnTo>
                  <a:pt x="1233" y="1541"/>
                </a:lnTo>
                <a:lnTo>
                  <a:pt x="1201" y="1563"/>
                </a:lnTo>
                <a:lnTo>
                  <a:pt x="1170" y="1586"/>
                </a:lnTo>
                <a:lnTo>
                  <a:pt x="1140" y="1611"/>
                </a:lnTo>
                <a:lnTo>
                  <a:pt x="1112" y="1637"/>
                </a:lnTo>
                <a:lnTo>
                  <a:pt x="1086" y="1664"/>
                </a:lnTo>
                <a:lnTo>
                  <a:pt x="1062" y="1692"/>
                </a:lnTo>
                <a:lnTo>
                  <a:pt x="1040" y="1721"/>
                </a:lnTo>
                <a:lnTo>
                  <a:pt x="1018" y="1751"/>
                </a:lnTo>
                <a:lnTo>
                  <a:pt x="998" y="1783"/>
                </a:lnTo>
                <a:lnTo>
                  <a:pt x="981" y="1815"/>
                </a:lnTo>
                <a:lnTo>
                  <a:pt x="965" y="1848"/>
                </a:lnTo>
                <a:lnTo>
                  <a:pt x="951" y="1883"/>
                </a:lnTo>
                <a:lnTo>
                  <a:pt x="945" y="1898"/>
                </a:lnTo>
                <a:lnTo>
                  <a:pt x="940" y="1912"/>
                </a:lnTo>
                <a:lnTo>
                  <a:pt x="936" y="1927"/>
                </a:lnTo>
                <a:lnTo>
                  <a:pt x="932" y="1944"/>
                </a:lnTo>
                <a:lnTo>
                  <a:pt x="931" y="1960"/>
                </a:lnTo>
                <a:lnTo>
                  <a:pt x="931" y="1968"/>
                </a:lnTo>
                <a:lnTo>
                  <a:pt x="932" y="1975"/>
                </a:lnTo>
                <a:lnTo>
                  <a:pt x="938" y="1987"/>
                </a:lnTo>
                <a:lnTo>
                  <a:pt x="944" y="1993"/>
                </a:lnTo>
                <a:lnTo>
                  <a:pt x="952" y="1997"/>
                </a:lnTo>
                <a:lnTo>
                  <a:pt x="961" y="2001"/>
                </a:lnTo>
                <a:lnTo>
                  <a:pt x="971" y="2003"/>
                </a:lnTo>
                <a:lnTo>
                  <a:pt x="993" y="2005"/>
                </a:lnTo>
                <a:lnTo>
                  <a:pt x="1018" y="2005"/>
                </a:lnTo>
                <a:lnTo>
                  <a:pt x="1022" y="2005"/>
                </a:lnTo>
                <a:lnTo>
                  <a:pt x="1151" y="2001"/>
                </a:lnTo>
                <a:lnTo>
                  <a:pt x="1272" y="1992"/>
                </a:lnTo>
                <a:lnTo>
                  <a:pt x="1328" y="1986"/>
                </a:lnTo>
                <a:lnTo>
                  <a:pt x="1382" y="1979"/>
                </a:lnTo>
                <a:lnTo>
                  <a:pt x="1432" y="1970"/>
                </a:lnTo>
                <a:lnTo>
                  <a:pt x="1481" y="1960"/>
                </a:lnTo>
                <a:lnTo>
                  <a:pt x="1504" y="1955"/>
                </a:lnTo>
                <a:lnTo>
                  <a:pt x="1527" y="1949"/>
                </a:lnTo>
                <a:lnTo>
                  <a:pt x="1569" y="1935"/>
                </a:lnTo>
                <a:lnTo>
                  <a:pt x="1609" y="1920"/>
                </a:lnTo>
                <a:lnTo>
                  <a:pt x="1646" y="1903"/>
                </a:lnTo>
                <a:lnTo>
                  <a:pt x="1679" y="1883"/>
                </a:lnTo>
                <a:lnTo>
                  <a:pt x="1695" y="1871"/>
                </a:lnTo>
                <a:lnTo>
                  <a:pt x="1710" y="1860"/>
                </a:lnTo>
                <a:lnTo>
                  <a:pt x="1738" y="1836"/>
                </a:lnTo>
                <a:lnTo>
                  <a:pt x="1762" y="1809"/>
                </a:lnTo>
                <a:lnTo>
                  <a:pt x="1780" y="1786"/>
                </a:lnTo>
                <a:lnTo>
                  <a:pt x="1796" y="1762"/>
                </a:lnTo>
                <a:lnTo>
                  <a:pt x="1815" y="1730"/>
                </a:lnTo>
                <a:lnTo>
                  <a:pt x="1833" y="1695"/>
                </a:lnTo>
                <a:lnTo>
                  <a:pt x="1840" y="1676"/>
                </a:lnTo>
                <a:lnTo>
                  <a:pt x="1847" y="1656"/>
                </a:lnTo>
                <a:lnTo>
                  <a:pt x="1853" y="1635"/>
                </a:lnTo>
                <a:lnTo>
                  <a:pt x="1857" y="1614"/>
                </a:lnTo>
                <a:lnTo>
                  <a:pt x="1858" y="1594"/>
                </a:lnTo>
                <a:lnTo>
                  <a:pt x="1857" y="1573"/>
                </a:lnTo>
                <a:lnTo>
                  <a:pt x="1855" y="1558"/>
                </a:lnTo>
                <a:lnTo>
                  <a:pt x="1851" y="1543"/>
                </a:lnTo>
                <a:lnTo>
                  <a:pt x="1844" y="1528"/>
                </a:lnTo>
                <a:lnTo>
                  <a:pt x="1837" y="1515"/>
                </a:lnTo>
                <a:lnTo>
                  <a:pt x="1829" y="1501"/>
                </a:lnTo>
                <a:lnTo>
                  <a:pt x="1819" y="1489"/>
                </a:lnTo>
                <a:lnTo>
                  <a:pt x="1808" y="1478"/>
                </a:lnTo>
                <a:lnTo>
                  <a:pt x="1795" y="1468"/>
                </a:lnTo>
                <a:lnTo>
                  <a:pt x="1776" y="1456"/>
                </a:lnTo>
                <a:lnTo>
                  <a:pt x="1755" y="1445"/>
                </a:lnTo>
                <a:lnTo>
                  <a:pt x="1734" y="1436"/>
                </a:lnTo>
                <a:lnTo>
                  <a:pt x="1710" y="1429"/>
                </a:lnTo>
                <a:lnTo>
                  <a:pt x="1686" y="1423"/>
                </a:lnTo>
                <a:lnTo>
                  <a:pt x="1662" y="1419"/>
                </a:lnTo>
                <a:lnTo>
                  <a:pt x="1609" y="1416"/>
                </a:lnTo>
                <a:close/>
                <a:moveTo>
                  <a:pt x="2885" y="871"/>
                </a:moveTo>
                <a:lnTo>
                  <a:pt x="2886" y="972"/>
                </a:lnTo>
                <a:lnTo>
                  <a:pt x="2892" y="1090"/>
                </a:lnTo>
                <a:lnTo>
                  <a:pt x="2901" y="1220"/>
                </a:lnTo>
                <a:lnTo>
                  <a:pt x="2914" y="1356"/>
                </a:lnTo>
                <a:lnTo>
                  <a:pt x="2922" y="1421"/>
                </a:lnTo>
                <a:lnTo>
                  <a:pt x="2930" y="1471"/>
                </a:lnTo>
                <a:lnTo>
                  <a:pt x="2944" y="1536"/>
                </a:lnTo>
                <a:lnTo>
                  <a:pt x="2946" y="1543"/>
                </a:lnTo>
                <a:lnTo>
                  <a:pt x="2949" y="1548"/>
                </a:lnTo>
                <a:lnTo>
                  <a:pt x="2952" y="1550"/>
                </a:lnTo>
                <a:lnTo>
                  <a:pt x="2957" y="1548"/>
                </a:lnTo>
                <a:lnTo>
                  <a:pt x="2964" y="1542"/>
                </a:lnTo>
                <a:lnTo>
                  <a:pt x="2974" y="1528"/>
                </a:lnTo>
                <a:lnTo>
                  <a:pt x="2985" y="1509"/>
                </a:lnTo>
                <a:lnTo>
                  <a:pt x="3007" y="1463"/>
                </a:lnTo>
                <a:lnTo>
                  <a:pt x="3029" y="1412"/>
                </a:lnTo>
                <a:lnTo>
                  <a:pt x="3047" y="1365"/>
                </a:lnTo>
                <a:lnTo>
                  <a:pt x="3074" y="1294"/>
                </a:lnTo>
                <a:lnTo>
                  <a:pt x="3101" y="1221"/>
                </a:lnTo>
                <a:lnTo>
                  <a:pt x="3124" y="1147"/>
                </a:lnTo>
                <a:lnTo>
                  <a:pt x="3145" y="1073"/>
                </a:lnTo>
                <a:lnTo>
                  <a:pt x="3164" y="996"/>
                </a:lnTo>
                <a:lnTo>
                  <a:pt x="3181" y="919"/>
                </a:lnTo>
                <a:lnTo>
                  <a:pt x="3195" y="839"/>
                </a:lnTo>
                <a:lnTo>
                  <a:pt x="3207" y="759"/>
                </a:lnTo>
                <a:lnTo>
                  <a:pt x="3214" y="706"/>
                </a:lnTo>
                <a:lnTo>
                  <a:pt x="3218" y="660"/>
                </a:lnTo>
                <a:lnTo>
                  <a:pt x="3219" y="607"/>
                </a:lnTo>
                <a:lnTo>
                  <a:pt x="3217" y="551"/>
                </a:lnTo>
                <a:lnTo>
                  <a:pt x="3213" y="522"/>
                </a:lnTo>
                <a:lnTo>
                  <a:pt x="3209" y="494"/>
                </a:lnTo>
                <a:lnTo>
                  <a:pt x="3203" y="468"/>
                </a:lnTo>
                <a:lnTo>
                  <a:pt x="3196" y="444"/>
                </a:lnTo>
                <a:lnTo>
                  <a:pt x="3186" y="420"/>
                </a:lnTo>
                <a:lnTo>
                  <a:pt x="3174" y="401"/>
                </a:lnTo>
                <a:lnTo>
                  <a:pt x="3160" y="383"/>
                </a:lnTo>
                <a:lnTo>
                  <a:pt x="3144" y="367"/>
                </a:lnTo>
                <a:lnTo>
                  <a:pt x="3126" y="355"/>
                </a:lnTo>
                <a:lnTo>
                  <a:pt x="3116" y="351"/>
                </a:lnTo>
                <a:lnTo>
                  <a:pt x="3106" y="349"/>
                </a:lnTo>
                <a:lnTo>
                  <a:pt x="3087" y="347"/>
                </a:lnTo>
                <a:lnTo>
                  <a:pt x="3063" y="349"/>
                </a:lnTo>
                <a:lnTo>
                  <a:pt x="3049" y="353"/>
                </a:lnTo>
                <a:lnTo>
                  <a:pt x="3034" y="358"/>
                </a:lnTo>
                <a:lnTo>
                  <a:pt x="3019" y="366"/>
                </a:lnTo>
                <a:lnTo>
                  <a:pt x="3004" y="376"/>
                </a:lnTo>
                <a:lnTo>
                  <a:pt x="2988" y="389"/>
                </a:lnTo>
                <a:lnTo>
                  <a:pt x="2973" y="405"/>
                </a:lnTo>
                <a:lnTo>
                  <a:pt x="2958" y="426"/>
                </a:lnTo>
                <a:lnTo>
                  <a:pt x="2944" y="449"/>
                </a:lnTo>
                <a:lnTo>
                  <a:pt x="2930" y="477"/>
                </a:lnTo>
                <a:lnTo>
                  <a:pt x="2918" y="509"/>
                </a:lnTo>
                <a:lnTo>
                  <a:pt x="2908" y="548"/>
                </a:lnTo>
                <a:lnTo>
                  <a:pt x="2900" y="590"/>
                </a:lnTo>
                <a:lnTo>
                  <a:pt x="2895" y="638"/>
                </a:lnTo>
                <a:lnTo>
                  <a:pt x="2893" y="664"/>
                </a:lnTo>
                <a:lnTo>
                  <a:pt x="2891" y="693"/>
                </a:lnTo>
                <a:lnTo>
                  <a:pt x="2885" y="871"/>
                </a:lnTo>
                <a:close/>
              </a:path>
            </a:pathLst>
          </a:custGeom>
          <a:solidFill>
            <a:srgbClr val="0019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779233"/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19" name="Freeform 11"/>
          <p:cNvSpPr>
            <a:spLocks noChangeAspect="1" noEditPoints="1"/>
          </p:cNvSpPr>
          <p:nvPr/>
        </p:nvSpPr>
        <p:spPr bwMode="auto">
          <a:xfrm>
            <a:off x="317991" y="195263"/>
            <a:ext cx="306656" cy="54000"/>
          </a:xfrm>
          <a:custGeom>
            <a:avLst/>
            <a:gdLst>
              <a:gd name="T0" fmla="*/ 1980 w 2104"/>
              <a:gd name="T1" fmla="*/ 231 h 456"/>
              <a:gd name="T2" fmla="*/ 1934 w 2104"/>
              <a:gd name="T3" fmla="*/ 73 h 456"/>
              <a:gd name="T4" fmla="*/ 2017 w 2104"/>
              <a:gd name="T5" fmla="*/ 117 h 456"/>
              <a:gd name="T6" fmla="*/ 2096 w 2104"/>
              <a:gd name="T7" fmla="*/ 104 h 456"/>
              <a:gd name="T8" fmla="*/ 2023 w 2104"/>
              <a:gd name="T9" fmla="*/ 24 h 456"/>
              <a:gd name="T10" fmla="*/ 1809 w 2104"/>
              <a:gd name="T11" fmla="*/ 11 h 456"/>
              <a:gd name="T12" fmla="*/ 1995 w 2104"/>
              <a:gd name="T13" fmla="*/ 298 h 456"/>
              <a:gd name="T14" fmla="*/ 2083 w 2104"/>
              <a:gd name="T15" fmla="*/ 235 h 456"/>
              <a:gd name="T16" fmla="*/ 1719 w 2104"/>
              <a:gd name="T17" fmla="*/ 7 h 456"/>
              <a:gd name="T18" fmla="*/ 1617 w 2104"/>
              <a:gd name="T19" fmla="*/ 359 h 456"/>
              <a:gd name="T20" fmla="*/ 1520 w 2104"/>
              <a:gd name="T21" fmla="*/ 385 h 456"/>
              <a:gd name="T22" fmla="*/ 1456 w 2104"/>
              <a:gd name="T23" fmla="*/ 343 h 456"/>
              <a:gd name="T24" fmla="*/ 1366 w 2104"/>
              <a:gd name="T25" fmla="*/ 290 h 456"/>
              <a:gd name="T26" fmla="*/ 1402 w 2104"/>
              <a:gd name="T27" fmla="*/ 399 h 456"/>
              <a:gd name="T28" fmla="*/ 1493 w 2104"/>
              <a:gd name="T29" fmla="*/ 451 h 456"/>
              <a:gd name="T30" fmla="*/ 1623 w 2104"/>
              <a:gd name="T31" fmla="*/ 441 h 456"/>
              <a:gd name="T32" fmla="*/ 1691 w 2104"/>
              <a:gd name="T33" fmla="*/ 385 h 456"/>
              <a:gd name="T34" fmla="*/ 1209 w 2104"/>
              <a:gd name="T35" fmla="*/ 228 h 456"/>
              <a:gd name="T36" fmla="*/ 1170 w 2104"/>
              <a:gd name="T37" fmla="*/ 343 h 456"/>
              <a:gd name="T38" fmla="*/ 1075 w 2104"/>
              <a:gd name="T39" fmla="*/ 389 h 456"/>
              <a:gd name="T40" fmla="*/ 985 w 2104"/>
              <a:gd name="T41" fmla="*/ 363 h 456"/>
              <a:gd name="T42" fmla="*/ 933 w 2104"/>
              <a:gd name="T43" fmla="*/ 285 h 456"/>
              <a:gd name="T44" fmla="*/ 935 w 2104"/>
              <a:gd name="T45" fmla="*/ 164 h 456"/>
              <a:gd name="T46" fmla="*/ 991 w 2104"/>
              <a:gd name="T47" fmla="*/ 90 h 456"/>
              <a:gd name="T48" fmla="*/ 1083 w 2104"/>
              <a:gd name="T49" fmla="*/ 68 h 456"/>
              <a:gd name="T50" fmla="*/ 1165 w 2104"/>
              <a:gd name="T51" fmla="*/ 108 h 456"/>
              <a:gd name="T52" fmla="*/ 1208 w 2104"/>
              <a:gd name="T53" fmla="*/ 211 h 456"/>
              <a:gd name="T54" fmla="*/ 1264 w 2104"/>
              <a:gd name="T55" fmla="*/ 117 h 456"/>
              <a:gd name="T56" fmla="*/ 1170 w 2104"/>
              <a:gd name="T57" fmla="*/ 23 h 456"/>
              <a:gd name="T58" fmla="*/ 1023 w 2104"/>
              <a:gd name="T59" fmla="*/ 5 h 456"/>
              <a:gd name="T60" fmla="*/ 890 w 2104"/>
              <a:gd name="T61" fmla="*/ 86 h 456"/>
              <a:gd name="T62" fmla="*/ 844 w 2104"/>
              <a:gd name="T63" fmla="*/ 244 h 456"/>
              <a:gd name="T64" fmla="*/ 888 w 2104"/>
              <a:gd name="T65" fmla="*/ 370 h 456"/>
              <a:gd name="T66" fmla="*/ 1004 w 2104"/>
              <a:gd name="T67" fmla="*/ 448 h 456"/>
              <a:gd name="T68" fmla="*/ 1154 w 2104"/>
              <a:gd name="T69" fmla="*/ 439 h 456"/>
              <a:gd name="T70" fmla="*/ 1252 w 2104"/>
              <a:gd name="T71" fmla="*/ 358 h 456"/>
              <a:gd name="T72" fmla="*/ 698 w 2104"/>
              <a:gd name="T73" fmla="*/ 165 h 456"/>
              <a:gd name="T74" fmla="*/ 624 w 2104"/>
              <a:gd name="T75" fmla="*/ 227 h 456"/>
              <a:gd name="T76" fmla="*/ 629 w 2104"/>
              <a:gd name="T77" fmla="*/ 73 h 456"/>
              <a:gd name="T78" fmla="*/ 696 w 2104"/>
              <a:gd name="T79" fmla="*/ 123 h 456"/>
              <a:gd name="T80" fmla="*/ 752 w 2104"/>
              <a:gd name="T81" fmla="*/ 228 h 456"/>
              <a:gd name="T82" fmla="*/ 778 w 2104"/>
              <a:gd name="T83" fmla="*/ 115 h 456"/>
              <a:gd name="T84" fmla="*/ 725 w 2104"/>
              <a:gd name="T85" fmla="*/ 35 h 456"/>
              <a:gd name="T86" fmla="*/ 599 w 2104"/>
              <a:gd name="T87" fmla="*/ 4 h 456"/>
              <a:gd name="T88" fmla="*/ 614 w 2104"/>
              <a:gd name="T89" fmla="*/ 290 h 456"/>
              <a:gd name="T90" fmla="*/ 275 w 2104"/>
              <a:gd name="T91" fmla="*/ 386 h 456"/>
              <a:gd name="T92" fmla="*/ 158 w 2104"/>
              <a:gd name="T93" fmla="*/ 368 h 456"/>
              <a:gd name="T94" fmla="*/ 86 w 2104"/>
              <a:gd name="T95" fmla="*/ 273 h 456"/>
              <a:gd name="T96" fmla="*/ 99 w 2104"/>
              <a:gd name="T97" fmla="*/ 148 h 456"/>
              <a:gd name="T98" fmla="*/ 181 w 2104"/>
              <a:gd name="T99" fmla="*/ 78 h 456"/>
              <a:gd name="T100" fmla="*/ 329 w 2104"/>
              <a:gd name="T101" fmla="*/ 91 h 456"/>
              <a:gd name="T102" fmla="*/ 301 w 2104"/>
              <a:gd name="T103" fmla="*/ 7 h 456"/>
              <a:gd name="T104" fmla="*/ 153 w 2104"/>
              <a:gd name="T105" fmla="*/ 14 h 456"/>
              <a:gd name="T106" fmla="*/ 42 w 2104"/>
              <a:gd name="T107" fmla="*/ 96 h 456"/>
              <a:gd name="T108" fmla="*/ 0 w 2104"/>
              <a:gd name="T109" fmla="*/ 228 h 456"/>
              <a:gd name="T110" fmla="*/ 41 w 2104"/>
              <a:gd name="T111" fmla="*/ 360 h 456"/>
              <a:gd name="T112" fmla="*/ 173 w 2104"/>
              <a:gd name="T113" fmla="*/ 448 h 456"/>
              <a:gd name="T114" fmla="*/ 324 w 2104"/>
              <a:gd name="T115" fmla="*/ 443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104" h="456">
                <a:moveTo>
                  <a:pt x="2026" y="155"/>
                </a:moveTo>
                <a:lnTo>
                  <a:pt x="2026" y="165"/>
                </a:lnTo>
                <a:lnTo>
                  <a:pt x="2025" y="174"/>
                </a:lnTo>
                <a:lnTo>
                  <a:pt x="2023" y="182"/>
                </a:lnTo>
                <a:lnTo>
                  <a:pt x="2020" y="190"/>
                </a:lnTo>
                <a:lnTo>
                  <a:pt x="2017" y="197"/>
                </a:lnTo>
                <a:lnTo>
                  <a:pt x="2013" y="204"/>
                </a:lnTo>
                <a:lnTo>
                  <a:pt x="2008" y="211"/>
                </a:lnTo>
                <a:lnTo>
                  <a:pt x="2002" y="217"/>
                </a:lnTo>
                <a:lnTo>
                  <a:pt x="1995" y="222"/>
                </a:lnTo>
                <a:lnTo>
                  <a:pt x="1988" y="227"/>
                </a:lnTo>
                <a:lnTo>
                  <a:pt x="1980" y="231"/>
                </a:lnTo>
                <a:lnTo>
                  <a:pt x="1971" y="235"/>
                </a:lnTo>
                <a:lnTo>
                  <a:pt x="1961" y="237"/>
                </a:lnTo>
                <a:lnTo>
                  <a:pt x="1950" y="239"/>
                </a:lnTo>
                <a:lnTo>
                  <a:pt x="1939" y="240"/>
                </a:lnTo>
                <a:lnTo>
                  <a:pt x="1927" y="241"/>
                </a:lnTo>
                <a:lnTo>
                  <a:pt x="1906" y="240"/>
                </a:lnTo>
                <a:lnTo>
                  <a:pt x="1885" y="238"/>
                </a:lnTo>
                <a:lnTo>
                  <a:pt x="1885" y="77"/>
                </a:lnTo>
                <a:lnTo>
                  <a:pt x="1896" y="75"/>
                </a:lnTo>
                <a:lnTo>
                  <a:pt x="1909" y="74"/>
                </a:lnTo>
                <a:lnTo>
                  <a:pt x="1921" y="74"/>
                </a:lnTo>
                <a:lnTo>
                  <a:pt x="1934" y="73"/>
                </a:lnTo>
                <a:lnTo>
                  <a:pt x="1945" y="74"/>
                </a:lnTo>
                <a:lnTo>
                  <a:pt x="1956" y="75"/>
                </a:lnTo>
                <a:lnTo>
                  <a:pt x="1965" y="77"/>
                </a:lnTo>
                <a:lnTo>
                  <a:pt x="1974" y="80"/>
                </a:lnTo>
                <a:lnTo>
                  <a:pt x="1983" y="84"/>
                </a:lnTo>
                <a:lnTo>
                  <a:pt x="1990" y="88"/>
                </a:lnTo>
                <a:lnTo>
                  <a:pt x="1997" y="93"/>
                </a:lnTo>
                <a:lnTo>
                  <a:pt x="2000" y="95"/>
                </a:lnTo>
                <a:lnTo>
                  <a:pt x="2003" y="98"/>
                </a:lnTo>
                <a:lnTo>
                  <a:pt x="2008" y="104"/>
                </a:lnTo>
                <a:lnTo>
                  <a:pt x="2013" y="111"/>
                </a:lnTo>
                <a:lnTo>
                  <a:pt x="2017" y="117"/>
                </a:lnTo>
                <a:lnTo>
                  <a:pt x="2020" y="124"/>
                </a:lnTo>
                <a:lnTo>
                  <a:pt x="2023" y="132"/>
                </a:lnTo>
                <a:lnTo>
                  <a:pt x="2025" y="139"/>
                </a:lnTo>
                <a:lnTo>
                  <a:pt x="2026" y="147"/>
                </a:lnTo>
                <a:lnTo>
                  <a:pt x="2026" y="155"/>
                </a:lnTo>
                <a:close/>
                <a:moveTo>
                  <a:pt x="2104" y="153"/>
                </a:moveTo>
                <a:lnTo>
                  <a:pt x="2104" y="143"/>
                </a:lnTo>
                <a:lnTo>
                  <a:pt x="2103" y="133"/>
                </a:lnTo>
                <a:lnTo>
                  <a:pt x="2101" y="123"/>
                </a:lnTo>
                <a:lnTo>
                  <a:pt x="2099" y="113"/>
                </a:lnTo>
                <a:lnTo>
                  <a:pt x="2098" y="109"/>
                </a:lnTo>
                <a:lnTo>
                  <a:pt x="2096" y="104"/>
                </a:lnTo>
                <a:lnTo>
                  <a:pt x="2093" y="95"/>
                </a:lnTo>
                <a:lnTo>
                  <a:pt x="2089" y="86"/>
                </a:lnTo>
                <a:lnTo>
                  <a:pt x="2084" y="78"/>
                </a:lnTo>
                <a:lnTo>
                  <a:pt x="2078" y="70"/>
                </a:lnTo>
                <a:lnTo>
                  <a:pt x="2072" y="62"/>
                </a:lnTo>
                <a:lnTo>
                  <a:pt x="2069" y="58"/>
                </a:lnTo>
                <a:lnTo>
                  <a:pt x="2066" y="55"/>
                </a:lnTo>
                <a:lnTo>
                  <a:pt x="2058" y="48"/>
                </a:lnTo>
                <a:lnTo>
                  <a:pt x="2050" y="41"/>
                </a:lnTo>
                <a:lnTo>
                  <a:pt x="2042" y="35"/>
                </a:lnTo>
                <a:lnTo>
                  <a:pt x="2032" y="30"/>
                </a:lnTo>
                <a:lnTo>
                  <a:pt x="2023" y="24"/>
                </a:lnTo>
                <a:lnTo>
                  <a:pt x="2012" y="20"/>
                </a:lnTo>
                <a:lnTo>
                  <a:pt x="2001" y="16"/>
                </a:lnTo>
                <a:lnTo>
                  <a:pt x="1989" y="12"/>
                </a:lnTo>
                <a:lnTo>
                  <a:pt x="1977" y="10"/>
                </a:lnTo>
                <a:lnTo>
                  <a:pt x="1964" y="7"/>
                </a:lnTo>
                <a:lnTo>
                  <a:pt x="1950" y="6"/>
                </a:lnTo>
                <a:lnTo>
                  <a:pt x="1936" y="5"/>
                </a:lnTo>
                <a:lnTo>
                  <a:pt x="1921" y="4"/>
                </a:lnTo>
                <a:lnTo>
                  <a:pt x="1894" y="5"/>
                </a:lnTo>
                <a:lnTo>
                  <a:pt x="1866" y="6"/>
                </a:lnTo>
                <a:lnTo>
                  <a:pt x="1838" y="8"/>
                </a:lnTo>
                <a:lnTo>
                  <a:pt x="1809" y="11"/>
                </a:lnTo>
                <a:lnTo>
                  <a:pt x="1809" y="449"/>
                </a:lnTo>
                <a:lnTo>
                  <a:pt x="1885" y="449"/>
                </a:lnTo>
                <a:lnTo>
                  <a:pt x="1885" y="305"/>
                </a:lnTo>
                <a:lnTo>
                  <a:pt x="1907" y="306"/>
                </a:lnTo>
                <a:lnTo>
                  <a:pt x="1929" y="306"/>
                </a:lnTo>
                <a:lnTo>
                  <a:pt x="1939" y="306"/>
                </a:lnTo>
                <a:lnTo>
                  <a:pt x="1949" y="306"/>
                </a:lnTo>
                <a:lnTo>
                  <a:pt x="1959" y="305"/>
                </a:lnTo>
                <a:lnTo>
                  <a:pt x="1968" y="303"/>
                </a:lnTo>
                <a:lnTo>
                  <a:pt x="1978" y="302"/>
                </a:lnTo>
                <a:lnTo>
                  <a:pt x="1987" y="300"/>
                </a:lnTo>
                <a:lnTo>
                  <a:pt x="1995" y="298"/>
                </a:lnTo>
                <a:lnTo>
                  <a:pt x="2004" y="295"/>
                </a:lnTo>
                <a:lnTo>
                  <a:pt x="2011" y="292"/>
                </a:lnTo>
                <a:lnTo>
                  <a:pt x="2019" y="289"/>
                </a:lnTo>
                <a:lnTo>
                  <a:pt x="2034" y="282"/>
                </a:lnTo>
                <a:lnTo>
                  <a:pt x="2047" y="273"/>
                </a:lnTo>
                <a:lnTo>
                  <a:pt x="2050" y="271"/>
                </a:lnTo>
                <a:lnTo>
                  <a:pt x="2053" y="268"/>
                </a:lnTo>
                <a:lnTo>
                  <a:pt x="2059" y="263"/>
                </a:lnTo>
                <a:lnTo>
                  <a:pt x="2064" y="258"/>
                </a:lnTo>
                <a:lnTo>
                  <a:pt x="2069" y="252"/>
                </a:lnTo>
                <a:lnTo>
                  <a:pt x="2078" y="241"/>
                </a:lnTo>
                <a:lnTo>
                  <a:pt x="2083" y="235"/>
                </a:lnTo>
                <a:lnTo>
                  <a:pt x="2086" y="228"/>
                </a:lnTo>
                <a:lnTo>
                  <a:pt x="2093" y="215"/>
                </a:lnTo>
                <a:lnTo>
                  <a:pt x="2095" y="208"/>
                </a:lnTo>
                <a:lnTo>
                  <a:pt x="2098" y="201"/>
                </a:lnTo>
                <a:lnTo>
                  <a:pt x="2100" y="193"/>
                </a:lnTo>
                <a:lnTo>
                  <a:pt x="2101" y="186"/>
                </a:lnTo>
                <a:lnTo>
                  <a:pt x="2103" y="178"/>
                </a:lnTo>
                <a:lnTo>
                  <a:pt x="2104" y="170"/>
                </a:lnTo>
                <a:lnTo>
                  <a:pt x="2104" y="161"/>
                </a:lnTo>
                <a:lnTo>
                  <a:pt x="2104" y="153"/>
                </a:lnTo>
                <a:close/>
                <a:moveTo>
                  <a:pt x="1719" y="279"/>
                </a:moveTo>
                <a:lnTo>
                  <a:pt x="1719" y="7"/>
                </a:lnTo>
                <a:lnTo>
                  <a:pt x="1644" y="7"/>
                </a:lnTo>
                <a:lnTo>
                  <a:pt x="1644" y="274"/>
                </a:lnTo>
                <a:lnTo>
                  <a:pt x="1643" y="288"/>
                </a:lnTo>
                <a:lnTo>
                  <a:pt x="1642" y="300"/>
                </a:lnTo>
                <a:lnTo>
                  <a:pt x="1640" y="312"/>
                </a:lnTo>
                <a:lnTo>
                  <a:pt x="1638" y="318"/>
                </a:lnTo>
                <a:lnTo>
                  <a:pt x="1637" y="323"/>
                </a:lnTo>
                <a:lnTo>
                  <a:pt x="1633" y="334"/>
                </a:lnTo>
                <a:lnTo>
                  <a:pt x="1628" y="343"/>
                </a:lnTo>
                <a:lnTo>
                  <a:pt x="1623" y="351"/>
                </a:lnTo>
                <a:lnTo>
                  <a:pt x="1620" y="355"/>
                </a:lnTo>
                <a:lnTo>
                  <a:pt x="1617" y="359"/>
                </a:lnTo>
                <a:lnTo>
                  <a:pt x="1610" y="365"/>
                </a:lnTo>
                <a:lnTo>
                  <a:pt x="1602" y="371"/>
                </a:lnTo>
                <a:lnTo>
                  <a:pt x="1594" y="376"/>
                </a:lnTo>
                <a:lnTo>
                  <a:pt x="1585" y="380"/>
                </a:lnTo>
                <a:lnTo>
                  <a:pt x="1580" y="382"/>
                </a:lnTo>
                <a:lnTo>
                  <a:pt x="1575" y="383"/>
                </a:lnTo>
                <a:lnTo>
                  <a:pt x="1570" y="384"/>
                </a:lnTo>
                <a:lnTo>
                  <a:pt x="1565" y="385"/>
                </a:lnTo>
                <a:lnTo>
                  <a:pt x="1554" y="387"/>
                </a:lnTo>
                <a:lnTo>
                  <a:pt x="1542" y="387"/>
                </a:lnTo>
                <a:lnTo>
                  <a:pt x="1531" y="387"/>
                </a:lnTo>
                <a:lnTo>
                  <a:pt x="1520" y="385"/>
                </a:lnTo>
                <a:lnTo>
                  <a:pt x="1514" y="384"/>
                </a:lnTo>
                <a:lnTo>
                  <a:pt x="1509" y="383"/>
                </a:lnTo>
                <a:lnTo>
                  <a:pt x="1500" y="380"/>
                </a:lnTo>
                <a:lnTo>
                  <a:pt x="1491" y="376"/>
                </a:lnTo>
                <a:lnTo>
                  <a:pt x="1482" y="371"/>
                </a:lnTo>
                <a:lnTo>
                  <a:pt x="1478" y="369"/>
                </a:lnTo>
                <a:lnTo>
                  <a:pt x="1475" y="366"/>
                </a:lnTo>
                <a:lnTo>
                  <a:pt x="1468" y="359"/>
                </a:lnTo>
                <a:lnTo>
                  <a:pt x="1465" y="355"/>
                </a:lnTo>
                <a:lnTo>
                  <a:pt x="1462" y="352"/>
                </a:lnTo>
                <a:lnTo>
                  <a:pt x="1459" y="347"/>
                </a:lnTo>
                <a:lnTo>
                  <a:pt x="1456" y="343"/>
                </a:lnTo>
                <a:lnTo>
                  <a:pt x="1454" y="339"/>
                </a:lnTo>
                <a:lnTo>
                  <a:pt x="1452" y="334"/>
                </a:lnTo>
                <a:lnTo>
                  <a:pt x="1450" y="329"/>
                </a:lnTo>
                <a:lnTo>
                  <a:pt x="1448" y="324"/>
                </a:lnTo>
                <a:lnTo>
                  <a:pt x="1445" y="313"/>
                </a:lnTo>
                <a:lnTo>
                  <a:pt x="1443" y="301"/>
                </a:lnTo>
                <a:lnTo>
                  <a:pt x="1442" y="288"/>
                </a:lnTo>
                <a:lnTo>
                  <a:pt x="1441" y="274"/>
                </a:lnTo>
                <a:lnTo>
                  <a:pt x="1441" y="7"/>
                </a:lnTo>
                <a:lnTo>
                  <a:pt x="1366" y="7"/>
                </a:lnTo>
                <a:lnTo>
                  <a:pt x="1366" y="279"/>
                </a:lnTo>
                <a:lnTo>
                  <a:pt x="1366" y="290"/>
                </a:lnTo>
                <a:lnTo>
                  <a:pt x="1367" y="300"/>
                </a:lnTo>
                <a:lnTo>
                  <a:pt x="1368" y="310"/>
                </a:lnTo>
                <a:lnTo>
                  <a:pt x="1369" y="320"/>
                </a:lnTo>
                <a:lnTo>
                  <a:pt x="1371" y="329"/>
                </a:lnTo>
                <a:lnTo>
                  <a:pt x="1373" y="338"/>
                </a:lnTo>
                <a:lnTo>
                  <a:pt x="1378" y="355"/>
                </a:lnTo>
                <a:lnTo>
                  <a:pt x="1381" y="363"/>
                </a:lnTo>
                <a:lnTo>
                  <a:pt x="1384" y="371"/>
                </a:lnTo>
                <a:lnTo>
                  <a:pt x="1388" y="378"/>
                </a:lnTo>
                <a:lnTo>
                  <a:pt x="1392" y="385"/>
                </a:lnTo>
                <a:lnTo>
                  <a:pt x="1397" y="392"/>
                </a:lnTo>
                <a:lnTo>
                  <a:pt x="1402" y="399"/>
                </a:lnTo>
                <a:lnTo>
                  <a:pt x="1407" y="405"/>
                </a:lnTo>
                <a:lnTo>
                  <a:pt x="1412" y="411"/>
                </a:lnTo>
                <a:lnTo>
                  <a:pt x="1418" y="416"/>
                </a:lnTo>
                <a:lnTo>
                  <a:pt x="1424" y="421"/>
                </a:lnTo>
                <a:lnTo>
                  <a:pt x="1437" y="430"/>
                </a:lnTo>
                <a:lnTo>
                  <a:pt x="1444" y="434"/>
                </a:lnTo>
                <a:lnTo>
                  <a:pt x="1452" y="438"/>
                </a:lnTo>
                <a:lnTo>
                  <a:pt x="1459" y="441"/>
                </a:lnTo>
                <a:lnTo>
                  <a:pt x="1467" y="444"/>
                </a:lnTo>
                <a:lnTo>
                  <a:pt x="1475" y="447"/>
                </a:lnTo>
                <a:lnTo>
                  <a:pt x="1484" y="449"/>
                </a:lnTo>
                <a:lnTo>
                  <a:pt x="1493" y="451"/>
                </a:lnTo>
                <a:lnTo>
                  <a:pt x="1502" y="453"/>
                </a:lnTo>
                <a:lnTo>
                  <a:pt x="1511" y="454"/>
                </a:lnTo>
                <a:lnTo>
                  <a:pt x="1521" y="455"/>
                </a:lnTo>
                <a:lnTo>
                  <a:pt x="1531" y="456"/>
                </a:lnTo>
                <a:lnTo>
                  <a:pt x="1541" y="456"/>
                </a:lnTo>
                <a:lnTo>
                  <a:pt x="1561" y="455"/>
                </a:lnTo>
                <a:lnTo>
                  <a:pt x="1571" y="454"/>
                </a:lnTo>
                <a:lnTo>
                  <a:pt x="1580" y="453"/>
                </a:lnTo>
                <a:lnTo>
                  <a:pt x="1589" y="451"/>
                </a:lnTo>
                <a:lnTo>
                  <a:pt x="1598" y="449"/>
                </a:lnTo>
                <a:lnTo>
                  <a:pt x="1615" y="444"/>
                </a:lnTo>
                <a:lnTo>
                  <a:pt x="1623" y="441"/>
                </a:lnTo>
                <a:lnTo>
                  <a:pt x="1630" y="438"/>
                </a:lnTo>
                <a:lnTo>
                  <a:pt x="1638" y="434"/>
                </a:lnTo>
                <a:lnTo>
                  <a:pt x="1645" y="430"/>
                </a:lnTo>
                <a:lnTo>
                  <a:pt x="1652" y="425"/>
                </a:lnTo>
                <a:lnTo>
                  <a:pt x="1658" y="421"/>
                </a:lnTo>
                <a:lnTo>
                  <a:pt x="1665" y="415"/>
                </a:lnTo>
                <a:lnTo>
                  <a:pt x="1671" y="410"/>
                </a:lnTo>
                <a:lnTo>
                  <a:pt x="1676" y="404"/>
                </a:lnTo>
                <a:lnTo>
                  <a:pt x="1679" y="401"/>
                </a:lnTo>
                <a:lnTo>
                  <a:pt x="1682" y="398"/>
                </a:lnTo>
                <a:lnTo>
                  <a:pt x="1687" y="391"/>
                </a:lnTo>
                <a:lnTo>
                  <a:pt x="1691" y="385"/>
                </a:lnTo>
                <a:lnTo>
                  <a:pt x="1696" y="378"/>
                </a:lnTo>
                <a:lnTo>
                  <a:pt x="1700" y="370"/>
                </a:lnTo>
                <a:lnTo>
                  <a:pt x="1703" y="362"/>
                </a:lnTo>
                <a:lnTo>
                  <a:pt x="1706" y="354"/>
                </a:lnTo>
                <a:lnTo>
                  <a:pt x="1709" y="346"/>
                </a:lnTo>
                <a:lnTo>
                  <a:pt x="1712" y="338"/>
                </a:lnTo>
                <a:lnTo>
                  <a:pt x="1714" y="329"/>
                </a:lnTo>
                <a:lnTo>
                  <a:pt x="1715" y="319"/>
                </a:lnTo>
                <a:lnTo>
                  <a:pt x="1718" y="300"/>
                </a:lnTo>
                <a:lnTo>
                  <a:pt x="1718" y="290"/>
                </a:lnTo>
                <a:lnTo>
                  <a:pt x="1719" y="279"/>
                </a:lnTo>
                <a:close/>
                <a:moveTo>
                  <a:pt x="1209" y="228"/>
                </a:moveTo>
                <a:lnTo>
                  <a:pt x="1208" y="245"/>
                </a:lnTo>
                <a:lnTo>
                  <a:pt x="1206" y="262"/>
                </a:lnTo>
                <a:lnTo>
                  <a:pt x="1205" y="270"/>
                </a:lnTo>
                <a:lnTo>
                  <a:pt x="1203" y="277"/>
                </a:lnTo>
                <a:lnTo>
                  <a:pt x="1199" y="292"/>
                </a:lnTo>
                <a:lnTo>
                  <a:pt x="1193" y="306"/>
                </a:lnTo>
                <a:lnTo>
                  <a:pt x="1190" y="313"/>
                </a:lnTo>
                <a:lnTo>
                  <a:pt x="1187" y="319"/>
                </a:lnTo>
                <a:lnTo>
                  <a:pt x="1183" y="325"/>
                </a:lnTo>
                <a:lnTo>
                  <a:pt x="1179" y="331"/>
                </a:lnTo>
                <a:lnTo>
                  <a:pt x="1174" y="337"/>
                </a:lnTo>
                <a:lnTo>
                  <a:pt x="1170" y="343"/>
                </a:lnTo>
                <a:lnTo>
                  <a:pt x="1165" y="348"/>
                </a:lnTo>
                <a:lnTo>
                  <a:pt x="1160" y="353"/>
                </a:lnTo>
                <a:lnTo>
                  <a:pt x="1149" y="363"/>
                </a:lnTo>
                <a:lnTo>
                  <a:pt x="1143" y="367"/>
                </a:lnTo>
                <a:lnTo>
                  <a:pt x="1137" y="370"/>
                </a:lnTo>
                <a:lnTo>
                  <a:pt x="1125" y="377"/>
                </a:lnTo>
                <a:lnTo>
                  <a:pt x="1118" y="379"/>
                </a:lnTo>
                <a:lnTo>
                  <a:pt x="1112" y="382"/>
                </a:lnTo>
                <a:lnTo>
                  <a:pt x="1105" y="384"/>
                </a:lnTo>
                <a:lnTo>
                  <a:pt x="1098" y="386"/>
                </a:lnTo>
                <a:lnTo>
                  <a:pt x="1083" y="388"/>
                </a:lnTo>
                <a:lnTo>
                  <a:pt x="1075" y="389"/>
                </a:lnTo>
                <a:lnTo>
                  <a:pt x="1067" y="389"/>
                </a:lnTo>
                <a:lnTo>
                  <a:pt x="1059" y="389"/>
                </a:lnTo>
                <a:lnTo>
                  <a:pt x="1052" y="388"/>
                </a:lnTo>
                <a:lnTo>
                  <a:pt x="1044" y="387"/>
                </a:lnTo>
                <a:lnTo>
                  <a:pt x="1037" y="386"/>
                </a:lnTo>
                <a:lnTo>
                  <a:pt x="1030" y="384"/>
                </a:lnTo>
                <a:lnTo>
                  <a:pt x="1023" y="382"/>
                </a:lnTo>
                <a:lnTo>
                  <a:pt x="1009" y="377"/>
                </a:lnTo>
                <a:lnTo>
                  <a:pt x="1003" y="374"/>
                </a:lnTo>
                <a:lnTo>
                  <a:pt x="997" y="370"/>
                </a:lnTo>
                <a:lnTo>
                  <a:pt x="991" y="367"/>
                </a:lnTo>
                <a:lnTo>
                  <a:pt x="985" y="363"/>
                </a:lnTo>
                <a:lnTo>
                  <a:pt x="980" y="358"/>
                </a:lnTo>
                <a:lnTo>
                  <a:pt x="974" y="353"/>
                </a:lnTo>
                <a:lnTo>
                  <a:pt x="969" y="348"/>
                </a:lnTo>
                <a:lnTo>
                  <a:pt x="964" y="343"/>
                </a:lnTo>
                <a:lnTo>
                  <a:pt x="959" y="337"/>
                </a:lnTo>
                <a:lnTo>
                  <a:pt x="955" y="331"/>
                </a:lnTo>
                <a:lnTo>
                  <a:pt x="947" y="319"/>
                </a:lnTo>
                <a:lnTo>
                  <a:pt x="944" y="313"/>
                </a:lnTo>
                <a:lnTo>
                  <a:pt x="940" y="306"/>
                </a:lnTo>
                <a:lnTo>
                  <a:pt x="938" y="299"/>
                </a:lnTo>
                <a:lnTo>
                  <a:pt x="935" y="292"/>
                </a:lnTo>
                <a:lnTo>
                  <a:pt x="933" y="285"/>
                </a:lnTo>
                <a:lnTo>
                  <a:pt x="931" y="277"/>
                </a:lnTo>
                <a:lnTo>
                  <a:pt x="927" y="262"/>
                </a:lnTo>
                <a:lnTo>
                  <a:pt x="925" y="245"/>
                </a:lnTo>
                <a:lnTo>
                  <a:pt x="925" y="237"/>
                </a:lnTo>
                <a:lnTo>
                  <a:pt x="924" y="228"/>
                </a:lnTo>
                <a:lnTo>
                  <a:pt x="925" y="220"/>
                </a:lnTo>
                <a:lnTo>
                  <a:pt x="925" y="211"/>
                </a:lnTo>
                <a:lnTo>
                  <a:pt x="927" y="195"/>
                </a:lnTo>
                <a:lnTo>
                  <a:pt x="929" y="187"/>
                </a:lnTo>
                <a:lnTo>
                  <a:pt x="931" y="179"/>
                </a:lnTo>
                <a:lnTo>
                  <a:pt x="933" y="172"/>
                </a:lnTo>
                <a:lnTo>
                  <a:pt x="935" y="164"/>
                </a:lnTo>
                <a:lnTo>
                  <a:pt x="940" y="150"/>
                </a:lnTo>
                <a:lnTo>
                  <a:pt x="944" y="144"/>
                </a:lnTo>
                <a:lnTo>
                  <a:pt x="947" y="137"/>
                </a:lnTo>
                <a:lnTo>
                  <a:pt x="951" y="131"/>
                </a:lnTo>
                <a:lnTo>
                  <a:pt x="955" y="125"/>
                </a:lnTo>
                <a:lnTo>
                  <a:pt x="959" y="119"/>
                </a:lnTo>
                <a:lnTo>
                  <a:pt x="964" y="113"/>
                </a:lnTo>
                <a:lnTo>
                  <a:pt x="969" y="108"/>
                </a:lnTo>
                <a:lnTo>
                  <a:pt x="974" y="103"/>
                </a:lnTo>
                <a:lnTo>
                  <a:pt x="980" y="98"/>
                </a:lnTo>
                <a:lnTo>
                  <a:pt x="985" y="94"/>
                </a:lnTo>
                <a:lnTo>
                  <a:pt x="991" y="90"/>
                </a:lnTo>
                <a:lnTo>
                  <a:pt x="997" y="86"/>
                </a:lnTo>
                <a:lnTo>
                  <a:pt x="1009" y="80"/>
                </a:lnTo>
                <a:lnTo>
                  <a:pt x="1016" y="77"/>
                </a:lnTo>
                <a:lnTo>
                  <a:pt x="1023" y="75"/>
                </a:lnTo>
                <a:lnTo>
                  <a:pt x="1030" y="72"/>
                </a:lnTo>
                <a:lnTo>
                  <a:pt x="1037" y="71"/>
                </a:lnTo>
                <a:lnTo>
                  <a:pt x="1044" y="69"/>
                </a:lnTo>
                <a:lnTo>
                  <a:pt x="1052" y="68"/>
                </a:lnTo>
                <a:lnTo>
                  <a:pt x="1059" y="68"/>
                </a:lnTo>
                <a:lnTo>
                  <a:pt x="1067" y="67"/>
                </a:lnTo>
                <a:lnTo>
                  <a:pt x="1075" y="68"/>
                </a:lnTo>
                <a:lnTo>
                  <a:pt x="1083" y="68"/>
                </a:lnTo>
                <a:lnTo>
                  <a:pt x="1090" y="69"/>
                </a:lnTo>
                <a:lnTo>
                  <a:pt x="1098" y="71"/>
                </a:lnTo>
                <a:lnTo>
                  <a:pt x="1105" y="72"/>
                </a:lnTo>
                <a:lnTo>
                  <a:pt x="1112" y="75"/>
                </a:lnTo>
                <a:lnTo>
                  <a:pt x="1125" y="80"/>
                </a:lnTo>
                <a:lnTo>
                  <a:pt x="1131" y="83"/>
                </a:lnTo>
                <a:lnTo>
                  <a:pt x="1137" y="86"/>
                </a:lnTo>
                <a:lnTo>
                  <a:pt x="1143" y="90"/>
                </a:lnTo>
                <a:lnTo>
                  <a:pt x="1149" y="94"/>
                </a:lnTo>
                <a:lnTo>
                  <a:pt x="1154" y="98"/>
                </a:lnTo>
                <a:lnTo>
                  <a:pt x="1160" y="103"/>
                </a:lnTo>
                <a:lnTo>
                  <a:pt x="1165" y="108"/>
                </a:lnTo>
                <a:lnTo>
                  <a:pt x="1170" y="113"/>
                </a:lnTo>
                <a:lnTo>
                  <a:pt x="1174" y="119"/>
                </a:lnTo>
                <a:lnTo>
                  <a:pt x="1179" y="125"/>
                </a:lnTo>
                <a:lnTo>
                  <a:pt x="1187" y="137"/>
                </a:lnTo>
                <a:lnTo>
                  <a:pt x="1190" y="144"/>
                </a:lnTo>
                <a:lnTo>
                  <a:pt x="1193" y="150"/>
                </a:lnTo>
                <a:lnTo>
                  <a:pt x="1196" y="157"/>
                </a:lnTo>
                <a:lnTo>
                  <a:pt x="1199" y="164"/>
                </a:lnTo>
                <a:lnTo>
                  <a:pt x="1201" y="172"/>
                </a:lnTo>
                <a:lnTo>
                  <a:pt x="1203" y="179"/>
                </a:lnTo>
                <a:lnTo>
                  <a:pt x="1206" y="195"/>
                </a:lnTo>
                <a:lnTo>
                  <a:pt x="1208" y="211"/>
                </a:lnTo>
                <a:lnTo>
                  <a:pt x="1209" y="220"/>
                </a:lnTo>
                <a:lnTo>
                  <a:pt x="1209" y="228"/>
                </a:lnTo>
                <a:close/>
                <a:moveTo>
                  <a:pt x="1290" y="228"/>
                </a:moveTo>
                <a:lnTo>
                  <a:pt x="1289" y="212"/>
                </a:lnTo>
                <a:lnTo>
                  <a:pt x="1289" y="204"/>
                </a:lnTo>
                <a:lnTo>
                  <a:pt x="1288" y="196"/>
                </a:lnTo>
                <a:lnTo>
                  <a:pt x="1286" y="181"/>
                </a:lnTo>
                <a:lnTo>
                  <a:pt x="1282" y="166"/>
                </a:lnTo>
                <a:lnTo>
                  <a:pt x="1278" y="151"/>
                </a:lnTo>
                <a:lnTo>
                  <a:pt x="1273" y="137"/>
                </a:lnTo>
                <a:lnTo>
                  <a:pt x="1268" y="124"/>
                </a:lnTo>
                <a:lnTo>
                  <a:pt x="1264" y="117"/>
                </a:lnTo>
                <a:lnTo>
                  <a:pt x="1261" y="111"/>
                </a:lnTo>
                <a:lnTo>
                  <a:pt x="1257" y="104"/>
                </a:lnTo>
                <a:lnTo>
                  <a:pt x="1254" y="98"/>
                </a:lnTo>
                <a:lnTo>
                  <a:pt x="1246" y="86"/>
                </a:lnTo>
                <a:lnTo>
                  <a:pt x="1237" y="75"/>
                </a:lnTo>
                <a:lnTo>
                  <a:pt x="1227" y="65"/>
                </a:lnTo>
                <a:lnTo>
                  <a:pt x="1217" y="55"/>
                </a:lnTo>
                <a:lnTo>
                  <a:pt x="1212" y="51"/>
                </a:lnTo>
                <a:lnTo>
                  <a:pt x="1207" y="46"/>
                </a:lnTo>
                <a:lnTo>
                  <a:pt x="1195" y="38"/>
                </a:lnTo>
                <a:lnTo>
                  <a:pt x="1183" y="30"/>
                </a:lnTo>
                <a:lnTo>
                  <a:pt x="1170" y="23"/>
                </a:lnTo>
                <a:lnTo>
                  <a:pt x="1157" y="17"/>
                </a:lnTo>
                <a:lnTo>
                  <a:pt x="1144" y="12"/>
                </a:lnTo>
                <a:lnTo>
                  <a:pt x="1130" y="8"/>
                </a:lnTo>
                <a:lnTo>
                  <a:pt x="1115" y="5"/>
                </a:lnTo>
                <a:lnTo>
                  <a:pt x="1100" y="2"/>
                </a:lnTo>
                <a:lnTo>
                  <a:pt x="1093" y="1"/>
                </a:lnTo>
                <a:lnTo>
                  <a:pt x="1085" y="1"/>
                </a:lnTo>
                <a:lnTo>
                  <a:pt x="1069" y="0"/>
                </a:lnTo>
                <a:lnTo>
                  <a:pt x="1053" y="1"/>
                </a:lnTo>
                <a:lnTo>
                  <a:pt x="1045" y="1"/>
                </a:lnTo>
                <a:lnTo>
                  <a:pt x="1038" y="2"/>
                </a:lnTo>
                <a:lnTo>
                  <a:pt x="1023" y="5"/>
                </a:lnTo>
                <a:lnTo>
                  <a:pt x="1008" y="8"/>
                </a:lnTo>
                <a:lnTo>
                  <a:pt x="994" y="12"/>
                </a:lnTo>
                <a:lnTo>
                  <a:pt x="980" y="17"/>
                </a:lnTo>
                <a:lnTo>
                  <a:pt x="973" y="20"/>
                </a:lnTo>
                <a:lnTo>
                  <a:pt x="967" y="23"/>
                </a:lnTo>
                <a:lnTo>
                  <a:pt x="954" y="30"/>
                </a:lnTo>
                <a:lnTo>
                  <a:pt x="942" y="38"/>
                </a:lnTo>
                <a:lnTo>
                  <a:pt x="930" y="46"/>
                </a:lnTo>
                <a:lnTo>
                  <a:pt x="919" y="55"/>
                </a:lnTo>
                <a:lnTo>
                  <a:pt x="909" y="65"/>
                </a:lnTo>
                <a:lnTo>
                  <a:pt x="899" y="75"/>
                </a:lnTo>
                <a:lnTo>
                  <a:pt x="890" y="86"/>
                </a:lnTo>
                <a:lnTo>
                  <a:pt x="886" y="92"/>
                </a:lnTo>
                <a:lnTo>
                  <a:pt x="882" y="98"/>
                </a:lnTo>
                <a:lnTo>
                  <a:pt x="874" y="111"/>
                </a:lnTo>
                <a:lnTo>
                  <a:pt x="867" y="124"/>
                </a:lnTo>
                <a:lnTo>
                  <a:pt x="861" y="137"/>
                </a:lnTo>
                <a:lnTo>
                  <a:pt x="856" y="151"/>
                </a:lnTo>
                <a:lnTo>
                  <a:pt x="852" y="166"/>
                </a:lnTo>
                <a:lnTo>
                  <a:pt x="848" y="181"/>
                </a:lnTo>
                <a:lnTo>
                  <a:pt x="846" y="196"/>
                </a:lnTo>
                <a:lnTo>
                  <a:pt x="844" y="212"/>
                </a:lnTo>
                <a:lnTo>
                  <a:pt x="844" y="228"/>
                </a:lnTo>
                <a:lnTo>
                  <a:pt x="844" y="244"/>
                </a:lnTo>
                <a:lnTo>
                  <a:pt x="846" y="260"/>
                </a:lnTo>
                <a:lnTo>
                  <a:pt x="847" y="268"/>
                </a:lnTo>
                <a:lnTo>
                  <a:pt x="848" y="276"/>
                </a:lnTo>
                <a:lnTo>
                  <a:pt x="851" y="290"/>
                </a:lnTo>
                <a:lnTo>
                  <a:pt x="855" y="305"/>
                </a:lnTo>
                <a:lnTo>
                  <a:pt x="860" y="319"/>
                </a:lnTo>
                <a:lnTo>
                  <a:pt x="866" y="332"/>
                </a:lnTo>
                <a:lnTo>
                  <a:pt x="869" y="339"/>
                </a:lnTo>
                <a:lnTo>
                  <a:pt x="873" y="345"/>
                </a:lnTo>
                <a:lnTo>
                  <a:pt x="876" y="352"/>
                </a:lnTo>
                <a:lnTo>
                  <a:pt x="880" y="358"/>
                </a:lnTo>
                <a:lnTo>
                  <a:pt x="888" y="370"/>
                </a:lnTo>
                <a:lnTo>
                  <a:pt x="897" y="381"/>
                </a:lnTo>
                <a:lnTo>
                  <a:pt x="906" y="391"/>
                </a:lnTo>
                <a:lnTo>
                  <a:pt x="916" y="401"/>
                </a:lnTo>
                <a:lnTo>
                  <a:pt x="922" y="405"/>
                </a:lnTo>
                <a:lnTo>
                  <a:pt x="927" y="410"/>
                </a:lnTo>
                <a:lnTo>
                  <a:pt x="933" y="414"/>
                </a:lnTo>
                <a:lnTo>
                  <a:pt x="939" y="418"/>
                </a:lnTo>
                <a:lnTo>
                  <a:pt x="951" y="426"/>
                </a:lnTo>
                <a:lnTo>
                  <a:pt x="963" y="433"/>
                </a:lnTo>
                <a:lnTo>
                  <a:pt x="976" y="439"/>
                </a:lnTo>
                <a:lnTo>
                  <a:pt x="990" y="444"/>
                </a:lnTo>
                <a:lnTo>
                  <a:pt x="1004" y="448"/>
                </a:lnTo>
                <a:lnTo>
                  <a:pt x="1019" y="451"/>
                </a:lnTo>
                <a:lnTo>
                  <a:pt x="1034" y="454"/>
                </a:lnTo>
                <a:lnTo>
                  <a:pt x="1041" y="455"/>
                </a:lnTo>
                <a:lnTo>
                  <a:pt x="1049" y="455"/>
                </a:lnTo>
                <a:lnTo>
                  <a:pt x="1065" y="456"/>
                </a:lnTo>
                <a:lnTo>
                  <a:pt x="1081" y="455"/>
                </a:lnTo>
                <a:lnTo>
                  <a:pt x="1088" y="455"/>
                </a:lnTo>
                <a:lnTo>
                  <a:pt x="1096" y="454"/>
                </a:lnTo>
                <a:lnTo>
                  <a:pt x="1111" y="451"/>
                </a:lnTo>
                <a:lnTo>
                  <a:pt x="1126" y="448"/>
                </a:lnTo>
                <a:lnTo>
                  <a:pt x="1140" y="444"/>
                </a:lnTo>
                <a:lnTo>
                  <a:pt x="1154" y="439"/>
                </a:lnTo>
                <a:lnTo>
                  <a:pt x="1160" y="436"/>
                </a:lnTo>
                <a:lnTo>
                  <a:pt x="1167" y="433"/>
                </a:lnTo>
                <a:lnTo>
                  <a:pt x="1180" y="426"/>
                </a:lnTo>
                <a:lnTo>
                  <a:pt x="1192" y="418"/>
                </a:lnTo>
                <a:lnTo>
                  <a:pt x="1204" y="410"/>
                </a:lnTo>
                <a:lnTo>
                  <a:pt x="1215" y="401"/>
                </a:lnTo>
                <a:lnTo>
                  <a:pt x="1220" y="396"/>
                </a:lnTo>
                <a:lnTo>
                  <a:pt x="1225" y="391"/>
                </a:lnTo>
                <a:lnTo>
                  <a:pt x="1235" y="381"/>
                </a:lnTo>
                <a:lnTo>
                  <a:pt x="1244" y="370"/>
                </a:lnTo>
                <a:lnTo>
                  <a:pt x="1248" y="364"/>
                </a:lnTo>
                <a:lnTo>
                  <a:pt x="1252" y="358"/>
                </a:lnTo>
                <a:lnTo>
                  <a:pt x="1260" y="345"/>
                </a:lnTo>
                <a:lnTo>
                  <a:pt x="1267" y="332"/>
                </a:lnTo>
                <a:lnTo>
                  <a:pt x="1273" y="319"/>
                </a:lnTo>
                <a:lnTo>
                  <a:pt x="1278" y="305"/>
                </a:lnTo>
                <a:lnTo>
                  <a:pt x="1282" y="290"/>
                </a:lnTo>
                <a:lnTo>
                  <a:pt x="1285" y="276"/>
                </a:lnTo>
                <a:lnTo>
                  <a:pt x="1288" y="260"/>
                </a:lnTo>
                <a:lnTo>
                  <a:pt x="1289" y="244"/>
                </a:lnTo>
                <a:lnTo>
                  <a:pt x="1290" y="228"/>
                </a:lnTo>
                <a:close/>
                <a:moveTo>
                  <a:pt x="700" y="147"/>
                </a:moveTo>
                <a:lnTo>
                  <a:pt x="700" y="156"/>
                </a:lnTo>
                <a:lnTo>
                  <a:pt x="698" y="165"/>
                </a:lnTo>
                <a:lnTo>
                  <a:pt x="696" y="173"/>
                </a:lnTo>
                <a:lnTo>
                  <a:pt x="694" y="181"/>
                </a:lnTo>
                <a:lnTo>
                  <a:pt x="690" y="188"/>
                </a:lnTo>
                <a:lnTo>
                  <a:pt x="686" y="195"/>
                </a:lnTo>
                <a:lnTo>
                  <a:pt x="681" y="201"/>
                </a:lnTo>
                <a:lnTo>
                  <a:pt x="675" y="207"/>
                </a:lnTo>
                <a:lnTo>
                  <a:pt x="669" y="212"/>
                </a:lnTo>
                <a:lnTo>
                  <a:pt x="661" y="216"/>
                </a:lnTo>
                <a:lnTo>
                  <a:pt x="653" y="220"/>
                </a:lnTo>
                <a:lnTo>
                  <a:pt x="644" y="223"/>
                </a:lnTo>
                <a:lnTo>
                  <a:pt x="635" y="225"/>
                </a:lnTo>
                <a:lnTo>
                  <a:pt x="624" y="227"/>
                </a:lnTo>
                <a:lnTo>
                  <a:pt x="613" y="228"/>
                </a:lnTo>
                <a:lnTo>
                  <a:pt x="601" y="228"/>
                </a:lnTo>
                <a:lnTo>
                  <a:pt x="579" y="228"/>
                </a:lnTo>
                <a:lnTo>
                  <a:pt x="568" y="227"/>
                </a:lnTo>
                <a:lnTo>
                  <a:pt x="558" y="226"/>
                </a:lnTo>
                <a:lnTo>
                  <a:pt x="558" y="75"/>
                </a:lnTo>
                <a:lnTo>
                  <a:pt x="569" y="73"/>
                </a:lnTo>
                <a:lnTo>
                  <a:pt x="582" y="72"/>
                </a:lnTo>
                <a:lnTo>
                  <a:pt x="595" y="72"/>
                </a:lnTo>
                <a:lnTo>
                  <a:pt x="608" y="72"/>
                </a:lnTo>
                <a:lnTo>
                  <a:pt x="619" y="72"/>
                </a:lnTo>
                <a:lnTo>
                  <a:pt x="629" y="73"/>
                </a:lnTo>
                <a:lnTo>
                  <a:pt x="638" y="75"/>
                </a:lnTo>
                <a:lnTo>
                  <a:pt x="647" y="77"/>
                </a:lnTo>
                <a:lnTo>
                  <a:pt x="651" y="79"/>
                </a:lnTo>
                <a:lnTo>
                  <a:pt x="655" y="80"/>
                </a:lnTo>
                <a:lnTo>
                  <a:pt x="663" y="84"/>
                </a:lnTo>
                <a:lnTo>
                  <a:pt x="670" y="88"/>
                </a:lnTo>
                <a:lnTo>
                  <a:pt x="676" y="93"/>
                </a:lnTo>
                <a:lnTo>
                  <a:pt x="681" y="98"/>
                </a:lnTo>
                <a:lnTo>
                  <a:pt x="686" y="104"/>
                </a:lnTo>
                <a:lnTo>
                  <a:pt x="690" y="110"/>
                </a:lnTo>
                <a:lnTo>
                  <a:pt x="694" y="116"/>
                </a:lnTo>
                <a:lnTo>
                  <a:pt x="696" y="123"/>
                </a:lnTo>
                <a:lnTo>
                  <a:pt x="698" y="131"/>
                </a:lnTo>
                <a:lnTo>
                  <a:pt x="699" y="139"/>
                </a:lnTo>
                <a:lnTo>
                  <a:pt x="700" y="147"/>
                </a:lnTo>
                <a:close/>
                <a:moveTo>
                  <a:pt x="810" y="449"/>
                </a:moveTo>
                <a:lnTo>
                  <a:pt x="693" y="271"/>
                </a:lnTo>
                <a:lnTo>
                  <a:pt x="703" y="266"/>
                </a:lnTo>
                <a:lnTo>
                  <a:pt x="713" y="261"/>
                </a:lnTo>
                <a:lnTo>
                  <a:pt x="723" y="255"/>
                </a:lnTo>
                <a:lnTo>
                  <a:pt x="731" y="249"/>
                </a:lnTo>
                <a:lnTo>
                  <a:pt x="738" y="242"/>
                </a:lnTo>
                <a:lnTo>
                  <a:pt x="746" y="235"/>
                </a:lnTo>
                <a:lnTo>
                  <a:pt x="752" y="228"/>
                </a:lnTo>
                <a:lnTo>
                  <a:pt x="758" y="220"/>
                </a:lnTo>
                <a:lnTo>
                  <a:pt x="763" y="211"/>
                </a:lnTo>
                <a:lnTo>
                  <a:pt x="768" y="202"/>
                </a:lnTo>
                <a:lnTo>
                  <a:pt x="771" y="193"/>
                </a:lnTo>
                <a:lnTo>
                  <a:pt x="775" y="184"/>
                </a:lnTo>
                <a:lnTo>
                  <a:pt x="777" y="174"/>
                </a:lnTo>
                <a:lnTo>
                  <a:pt x="779" y="164"/>
                </a:lnTo>
                <a:lnTo>
                  <a:pt x="780" y="154"/>
                </a:lnTo>
                <a:lnTo>
                  <a:pt x="780" y="143"/>
                </a:lnTo>
                <a:lnTo>
                  <a:pt x="780" y="129"/>
                </a:lnTo>
                <a:lnTo>
                  <a:pt x="779" y="122"/>
                </a:lnTo>
                <a:lnTo>
                  <a:pt x="778" y="115"/>
                </a:lnTo>
                <a:lnTo>
                  <a:pt x="774" y="101"/>
                </a:lnTo>
                <a:lnTo>
                  <a:pt x="772" y="95"/>
                </a:lnTo>
                <a:lnTo>
                  <a:pt x="770" y="89"/>
                </a:lnTo>
                <a:lnTo>
                  <a:pt x="767" y="82"/>
                </a:lnTo>
                <a:lnTo>
                  <a:pt x="764" y="77"/>
                </a:lnTo>
                <a:lnTo>
                  <a:pt x="760" y="71"/>
                </a:lnTo>
                <a:lnTo>
                  <a:pt x="756" y="65"/>
                </a:lnTo>
                <a:lnTo>
                  <a:pt x="747" y="54"/>
                </a:lnTo>
                <a:lnTo>
                  <a:pt x="742" y="49"/>
                </a:lnTo>
                <a:lnTo>
                  <a:pt x="737" y="44"/>
                </a:lnTo>
                <a:lnTo>
                  <a:pt x="731" y="40"/>
                </a:lnTo>
                <a:lnTo>
                  <a:pt x="725" y="35"/>
                </a:lnTo>
                <a:lnTo>
                  <a:pt x="719" y="31"/>
                </a:lnTo>
                <a:lnTo>
                  <a:pt x="711" y="27"/>
                </a:lnTo>
                <a:lnTo>
                  <a:pt x="704" y="24"/>
                </a:lnTo>
                <a:lnTo>
                  <a:pt x="696" y="21"/>
                </a:lnTo>
                <a:lnTo>
                  <a:pt x="688" y="18"/>
                </a:lnTo>
                <a:lnTo>
                  <a:pt x="680" y="15"/>
                </a:lnTo>
                <a:lnTo>
                  <a:pt x="671" y="13"/>
                </a:lnTo>
                <a:lnTo>
                  <a:pt x="662" y="11"/>
                </a:lnTo>
                <a:lnTo>
                  <a:pt x="642" y="7"/>
                </a:lnTo>
                <a:lnTo>
                  <a:pt x="632" y="6"/>
                </a:lnTo>
                <a:lnTo>
                  <a:pt x="621" y="5"/>
                </a:lnTo>
                <a:lnTo>
                  <a:pt x="599" y="4"/>
                </a:lnTo>
                <a:lnTo>
                  <a:pt x="567" y="5"/>
                </a:lnTo>
                <a:lnTo>
                  <a:pt x="552" y="5"/>
                </a:lnTo>
                <a:lnTo>
                  <a:pt x="537" y="6"/>
                </a:lnTo>
                <a:lnTo>
                  <a:pt x="509" y="9"/>
                </a:lnTo>
                <a:lnTo>
                  <a:pt x="496" y="10"/>
                </a:lnTo>
                <a:lnTo>
                  <a:pt x="483" y="11"/>
                </a:lnTo>
                <a:lnTo>
                  <a:pt x="483" y="449"/>
                </a:lnTo>
                <a:lnTo>
                  <a:pt x="558" y="449"/>
                </a:lnTo>
                <a:lnTo>
                  <a:pt x="558" y="289"/>
                </a:lnTo>
                <a:lnTo>
                  <a:pt x="580" y="290"/>
                </a:lnTo>
                <a:lnTo>
                  <a:pt x="602" y="290"/>
                </a:lnTo>
                <a:lnTo>
                  <a:pt x="614" y="290"/>
                </a:lnTo>
                <a:lnTo>
                  <a:pt x="625" y="290"/>
                </a:lnTo>
                <a:lnTo>
                  <a:pt x="723" y="449"/>
                </a:lnTo>
                <a:lnTo>
                  <a:pt x="810" y="449"/>
                </a:lnTo>
                <a:close/>
                <a:moveTo>
                  <a:pt x="223" y="215"/>
                </a:moveTo>
                <a:lnTo>
                  <a:pt x="223" y="281"/>
                </a:lnTo>
                <a:lnTo>
                  <a:pt x="326" y="281"/>
                </a:lnTo>
                <a:lnTo>
                  <a:pt x="326" y="368"/>
                </a:lnTo>
                <a:lnTo>
                  <a:pt x="317" y="373"/>
                </a:lnTo>
                <a:lnTo>
                  <a:pt x="307" y="377"/>
                </a:lnTo>
                <a:lnTo>
                  <a:pt x="297" y="381"/>
                </a:lnTo>
                <a:lnTo>
                  <a:pt x="286" y="384"/>
                </a:lnTo>
                <a:lnTo>
                  <a:pt x="275" y="386"/>
                </a:lnTo>
                <a:lnTo>
                  <a:pt x="270" y="387"/>
                </a:lnTo>
                <a:lnTo>
                  <a:pt x="264" y="388"/>
                </a:lnTo>
                <a:lnTo>
                  <a:pt x="251" y="389"/>
                </a:lnTo>
                <a:lnTo>
                  <a:pt x="237" y="389"/>
                </a:lnTo>
                <a:lnTo>
                  <a:pt x="226" y="389"/>
                </a:lnTo>
                <a:lnTo>
                  <a:pt x="216" y="388"/>
                </a:lnTo>
                <a:lnTo>
                  <a:pt x="205" y="386"/>
                </a:lnTo>
                <a:lnTo>
                  <a:pt x="195" y="384"/>
                </a:lnTo>
                <a:lnTo>
                  <a:pt x="186" y="381"/>
                </a:lnTo>
                <a:lnTo>
                  <a:pt x="176" y="377"/>
                </a:lnTo>
                <a:lnTo>
                  <a:pt x="167" y="373"/>
                </a:lnTo>
                <a:lnTo>
                  <a:pt x="158" y="368"/>
                </a:lnTo>
                <a:lnTo>
                  <a:pt x="149" y="363"/>
                </a:lnTo>
                <a:lnTo>
                  <a:pt x="141" y="357"/>
                </a:lnTo>
                <a:lnTo>
                  <a:pt x="134" y="351"/>
                </a:lnTo>
                <a:lnTo>
                  <a:pt x="126" y="344"/>
                </a:lnTo>
                <a:lnTo>
                  <a:pt x="120" y="337"/>
                </a:lnTo>
                <a:lnTo>
                  <a:pt x="113" y="329"/>
                </a:lnTo>
                <a:lnTo>
                  <a:pt x="107" y="320"/>
                </a:lnTo>
                <a:lnTo>
                  <a:pt x="102" y="312"/>
                </a:lnTo>
                <a:lnTo>
                  <a:pt x="97" y="302"/>
                </a:lnTo>
                <a:lnTo>
                  <a:pt x="93" y="293"/>
                </a:lnTo>
                <a:lnTo>
                  <a:pt x="89" y="283"/>
                </a:lnTo>
                <a:lnTo>
                  <a:pt x="86" y="273"/>
                </a:lnTo>
                <a:lnTo>
                  <a:pt x="84" y="262"/>
                </a:lnTo>
                <a:lnTo>
                  <a:pt x="82" y="251"/>
                </a:lnTo>
                <a:lnTo>
                  <a:pt x="81" y="240"/>
                </a:lnTo>
                <a:lnTo>
                  <a:pt x="81" y="228"/>
                </a:lnTo>
                <a:lnTo>
                  <a:pt x="81" y="217"/>
                </a:lnTo>
                <a:lnTo>
                  <a:pt x="82" y="207"/>
                </a:lnTo>
                <a:lnTo>
                  <a:pt x="83" y="196"/>
                </a:lnTo>
                <a:lnTo>
                  <a:pt x="85" y="186"/>
                </a:lnTo>
                <a:lnTo>
                  <a:pt x="88" y="176"/>
                </a:lnTo>
                <a:lnTo>
                  <a:pt x="91" y="166"/>
                </a:lnTo>
                <a:lnTo>
                  <a:pt x="95" y="157"/>
                </a:lnTo>
                <a:lnTo>
                  <a:pt x="99" y="148"/>
                </a:lnTo>
                <a:lnTo>
                  <a:pt x="104" y="139"/>
                </a:lnTo>
                <a:lnTo>
                  <a:pt x="109" y="131"/>
                </a:lnTo>
                <a:lnTo>
                  <a:pt x="112" y="127"/>
                </a:lnTo>
                <a:lnTo>
                  <a:pt x="115" y="123"/>
                </a:lnTo>
                <a:lnTo>
                  <a:pt x="122" y="116"/>
                </a:lnTo>
                <a:lnTo>
                  <a:pt x="129" y="109"/>
                </a:lnTo>
                <a:lnTo>
                  <a:pt x="136" y="102"/>
                </a:lnTo>
                <a:lnTo>
                  <a:pt x="144" y="96"/>
                </a:lnTo>
                <a:lnTo>
                  <a:pt x="152" y="91"/>
                </a:lnTo>
                <a:lnTo>
                  <a:pt x="161" y="86"/>
                </a:lnTo>
                <a:lnTo>
                  <a:pt x="171" y="82"/>
                </a:lnTo>
                <a:lnTo>
                  <a:pt x="181" y="78"/>
                </a:lnTo>
                <a:lnTo>
                  <a:pt x="191" y="75"/>
                </a:lnTo>
                <a:lnTo>
                  <a:pt x="202" y="72"/>
                </a:lnTo>
                <a:lnTo>
                  <a:pt x="214" y="71"/>
                </a:lnTo>
                <a:lnTo>
                  <a:pt x="226" y="70"/>
                </a:lnTo>
                <a:lnTo>
                  <a:pt x="238" y="69"/>
                </a:lnTo>
                <a:lnTo>
                  <a:pt x="253" y="70"/>
                </a:lnTo>
                <a:lnTo>
                  <a:pt x="269" y="72"/>
                </a:lnTo>
                <a:lnTo>
                  <a:pt x="284" y="75"/>
                </a:lnTo>
                <a:lnTo>
                  <a:pt x="292" y="77"/>
                </a:lnTo>
                <a:lnTo>
                  <a:pt x="299" y="79"/>
                </a:lnTo>
                <a:lnTo>
                  <a:pt x="314" y="84"/>
                </a:lnTo>
                <a:lnTo>
                  <a:pt x="329" y="91"/>
                </a:lnTo>
                <a:lnTo>
                  <a:pt x="343" y="98"/>
                </a:lnTo>
                <a:lnTo>
                  <a:pt x="350" y="102"/>
                </a:lnTo>
                <a:lnTo>
                  <a:pt x="357" y="106"/>
                </a:lnTo>
                <a:lnTo>
                  <a:pt x="391" y="46"/>
                </a:lnTo>
                <a:lnTo>
                  <a:pt x="374" y="36"/>
                </a:lnTo>
                <a:lnTo>
                  <a:pt x="365" y="31"/>
                </a:lnTo>
                <a:lnTo>
                  <a:pt x="357" y="27"/>
                </a:lnTo>
                <a:lnTo>
                  <a:pt x="339" y="19"/>
                </a:lnTo>
                <a:lnTo>
                  <a:pt x="329" y="16"/>
                </a:lnTo>
                <a:lnTo>
                  <a:pt x="320" y="13"/>
                </a:lnTo>
                <a:lnTo>
                  <a:pt x="311" y="10"/>
                </a:lnTo>
                <a:lnTo>
                  <a:pt x="301" y="7"/>
                </a:lnTo>
                <a:lnTo>
                  <a:pt x="290" y="5"/>
                </a:lnTo>
                <a:lnTo>
                  <a:pt x="280" y="3"/>
                </a:lnTo>
                <a:lnTo>
                  <a:pt x="269" y="2"/>
                </a:lnTo>
                <a:lnTo>
                  <a:pt x="258" y="1"/>
                </a:lnTo>
                <a:lnTo>
                  <a:pt x="234" y="0"/>
                </a:lnTo>
                <a:lnTo>
                  <a:pt x="219" y="1"/>
                </a:lnTo>
                <a:lnTo>
                  <a:pt x="211" y="1"/>
                </a:lnTo>
                <a:lnTo>
                  <a:pt x="203" y="2"/>
                </a:lnTo>
                <a:lnTo>
                  <a:pt x="189" y="4"/>
                </a:lnTo>
                <a:lnTo>
                  <a:pt x="174" y="7"/>
                </a:lnTo>
                <a:lnTo>
                  <a:pt x="160" y="11"/>
                </a:lnTo>
                <a:lnTo>
                  <a:pt x="153" y="14"/>
                </a:lnTo>
                <a:lnTo>
                  <a:pt x="146" y="16"/>
                </a:lnTo>
                <a:lnTo>
                  <a:pt x="132" y="22"/>
                </a:lnTo>
                <a:lnTo>
                  <a:pt x="118" y="29"/>
                </a:lnTo>
                <a:lnTo>
                  <a:pt x="112" y="32"/>
                </a:lnTo>
                <a:lnTo>
                  <a:pt x="106" y="36"/>
                </a:lnTo>
                <a:lnTo>
                  <a:pt x="99" y="40"/>
                </a:lnTo>
                <a:lnTo>
                  <a:pt x="93" y="44"/>
                </a:lnTo>
                <a:lnTo>
                  <a:pt x="82" y="53"/>
                </a:lnTo>
                <a:lnTo>
                  <a:pt x="71" y="63"/>
                </a:lnTo>
                <a:lnTo>
                  <a:pt x="60" y="73"/>
                </a:lnTo>
                <a:lnTo>
                  <a:pt x="51" y="84"/>
                </a:lnTo>
                <a:lnTo>
                  <a:pt x="42" y="96"/>
                </a:lnTo>
                <a:lnTo>
                  <a:pt x="33" y="108"/>
                </a:lnTo>
                <a:lnTo>
                  <a:pt x="29" y="114"/>
                </a:lnTo>
                <a:lnTo>
                  <a:pt x="26" y="121"/>
                </a:lnTo>
                <a:lnTo>
                  <a:pt x="19" y="135"/>
                </a:lnTo>
                <a:lnTo>
                  <a:pt x="16" y="142"/>
                </a:lnTo>
                <a:lnTo>
                  <a:pt x="13" y="149"/>
                </a:lnTo>
                <a:lnTo>
                  <a:pt x="9" y="164"/>
                </a:lnTo>
                <a:lnTo>
                  <a:pt x="5" y="179"/>
                </a:lnTo>
                <a:lnTo>
                  <a:pt x="3" y="195"/>
                </a:lnTo>
                <a:lnTo>
                  <a:pt x="1" y="211"/>
                </a:lnTo>
                <a:lnTo>
                  <a:pt x="0" y="220"/>
                </a:lnTo>
                <a:lnTo>
                  <a:pt x="0" y="228"/>
                </a:lnTo>
                <a:lnTo>
                  <a:pt x="0" y="237"/>
                </a:lnTo>
                <a:lnTo>
                  <a:pt x="1" y="245"/>
                </a:lnTo>
                <a:lnTo>
                  <a:pt x="2" y="261"/>
                </a:lnTo>
                <a:lnTo>
                  <a:pt x="4" y="269"/>
                </a:lnTo>
                <a:lnTo>
                  <a:pt x="5" y="277"/>
                </a:lnTo>
                <a:lnTo>
                  <a:pt x="9" y="292"/>
                </a:lnTo>
                <a:lnTo>
                  <a:pt x="13" y="307"/>
                </a:lnTo>
                <a:lnTo>
                  <a:pt x="19" y="321"/>
                </a:lnTo>
                <a:lnTo>
                  <a:pt x="25" y="335"/>
                </a:lnTo>
                <a:lnTo>
                  <a:pt x="29" y="341"/>
                </a:lnTo>
                <a:lnTo>
                  <a:pt x="33" y="348"/>
                </a:lnTo>
                <a:lnTo>
                  <a:pt x="41" y="360"/>
                </a:lnTo>
                <a:lnTo>
                  <a:pt x="46" y="366"/>
                </a:lnTo>
                <a:lnTo>
                  <a:pt x="50" y="372"/>
                </a:lnTo>
                <a:lnTo>
                  <a:pt x="60" y="383"/>
                </a:lnTo>
                <a:lnTo>
                  <a:pt x="70" y="393"/>
                </a:lnTo>
                <a:lnTo>
                  <a:pt x="81" y="403"/>
                </a:lnTo>
                <a:lnTo>
                  <a:pt x="93" y="411"/>
                </a:lnTo>
                <a:lnTo>
                  <a:pt x="105" y="420"/>
                </a:lnTo>
                <a:lnTo>
                  <a:pt x="118" y="427"/>
                </a:lnTo>
                <a:lnTo>
                  <a:pt x="131" y="434"/>
                </a:lnTo>
                <a:lnTo>
                  <a:pt x="145" y="439"/>
                </a:lnTo>
                <a:lnTo>
                  <a:pt x="159" y="444"/>
                </a:lnTo>
                <a:lnTo>
                  <a:pt x="173" y="448"/>
                </a:lnTo>
                <a:lnTo>
                  <a:pt x="188" y="452"/>
                </a:lnTo>
                <a:lnTo>
                  <a:pt x="203" y="454"/>
                </a:lnTo>
                <a:lnTo>
                  <a:pt x="219" y="455"/>
                </a:lnTo>
                <a:lnTo>
                  <a:pt x="234" y="456"/>
                </a:lnTo>
                <a:lnTo>
                  <a:pt x="247" y="456"/>
                </a:lnTo>
                <a:lnTo>
                  <a:pt x="258" y="455"/>
                </a:lnTo>
                <a:lnTo>
                  <a:pt x="270" y="454"/>
                </a:lnTo>
                <a:lnTo>
                  <a:pt x="281" y="453"/>
                </a:lnTo>
                <a:lnTo>
                  <a:pt x="292" y="451"/>
                </a:lnTo>
                <a:lnTo>
                  <a:pt x="303" y="449"/>
                </a:lnTo>
                <a:lnTo>
                  <a:pt x="314" y="446"/>
                </a:lnTo>
                <a:lnTo>
                  <a:pt x="324" y="443"/>
                </a:lnTo>
                <a:lnTo>
                  <a:pt x="334" y="440"/>
                </a:lnTo>
                <a:lnTo>
                  <a:pt x="343" y="436"/>
                </a:lnTo>
                <a:lnTo>
                  <a:pt x="353" y="432"/>
                </a:lnTo>
                <a:lnTo>
                  <a:pt x="363" y="428"/>
                </a:lnTo>
                <a:lnTo>
                  <a:pt x="381" y="419"/>
                </a:lnTo>
                <a:lnTo>
                  <a:pt x="390" y="413"/>
                </a:lnTo>
                <a:lnTo>
                  <a:pt x="399" y="408"/>
                </a:lnTo>
                <a:lnTo>
                  <a:pt x="399" y="215"/>
                </a:lnTo>
                <a:lnTo>
                  <a:pt x="223" y="21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defTabSz="779233"/>
            <a:endParaRPr lang="en-GB" sz="1500" dirty="0">
              <a:solidFill>
                <a:srgbClr val="000000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317990" y="303498"/>
            <a:ext cx="8508023" cy="0"/>
          </a:xfrm>
          <a:prstGeom prst="line">
            <a:avLst/>
          </a:prstGeom>
          <a:ln w="31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141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</p:sldLayoutIdLst>
  <p:transition spd="med">
    <p:fade/>
  </p:transition>
  <p:hf hdr="0"/>
  <p:txStyles>
    <p:titleStyle>
      <a:lvl1pPr algn="l" defTabSz="779233" rtl="0" eaLnBrk="1" latinLnBrk="0" hangingPunct="1">
        <a:lnSpc>
          <a:spcPct val="90000"/>
        </a:lnSpc>
        <a:spcBef>
          <a:spcPct val="0"/>
        </a:spcBef>
        <a:buNone/>
        <a:defRPr sz="2600" b="0" kern="1200" spc="-26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276" indent="-227276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rgbClr val="0019AF"/>
        </a:buClr>
        <a:buFont typeface="Arial" pitchFamily="34" charset="0"/>
        <a:buChar char="•"/>
        <a:defRPr sz="1700" kern="1200">
          <a:solidFill>
            <a:schemeClr val="tx2"/>
          </a:solidFill>
          <a:latin typeface="+mn-lt"/>
          <a:ea typeface="+mn-ea"/>
          <a:cs typeface="+mn-cs"/>
        </a:defRPr>
      </a:lvl1pPr>
      <a:lvl2pPr marL="459964" indent="-232688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chemeClr val="accent1"/>
        </a:buClr>
        <a:buFont typeface="Arial" panose="020B0604020202020204" pitchFamily="34" charset="0"/>
        <a:buChar char="–"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687240" indent="-227276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rgbClr val="0019AF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913163" indent="-225923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rgbClr val="0019AF"/>
        </a:buClr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147203" indent="-231335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rgbClr val="0019AF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766961" indent="-227021" algn="l" defTabSz="779233" rtl="0" eaLnBrk="1" latinLnBrk="0" hangingPunct="1">
        <a:spcBef>
          <a:spcPct val="20000"/>
        </a:spcBef>
        <a:spcAft>
          <a:spcPts val="852"/>
        </a:spcAft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147203" indent="-231335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7pPr>
      <a:lvl8pPr marL="1147203" indent="-231335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8pPr>
      <a:lvl9pPr marL="1147203" indent="-231335" algn="l" defTabSz="779233" rtl="0" eaLnBrk="1" latinLnBrk="0" hangingPunct="1">
        <a:lnSpc>
          <a:spcPct val="100000"/>
        </a:lnSpc>
        <a:spcBef>
          <a:spcPts val="0"/>
        </a:spcBef>
        <a:spcAft>
          <a:spcPts val="682"/>
        </a:spcAft>
        <a:buClr>
          <a:schemeClr val="accent1"/>
        </a:buClr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16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4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64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8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97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1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92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corner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956" y="4247636"/>
            <a:ext cx="1080000" cy="899624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2916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44589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plash_corner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6956" y="4247636"/>
            <a:ext cx="1080000" cy="899624"/>
          </a:xfrm>
          <a:prstGeom prst="rect">
            <a:avLst/>
          </a:prstGeom>
        </p:spPr>
      </p:pic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2916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3842888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4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528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307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i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kti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Otsikon paikkamerkki 1"/>
          <p:cNvSpPr>
            <a:spLocks noGrp="1"/>
          </p:cNvSpPr>
          <p:nvPr>
            <p:ph type="title"/>
          </p:nvPr>
        </p:nvSpPr>
        <p:spPr bwMode="auto">
          <a:xfrm>
            <a:off x="317500" y="247650"/>
            <a:ext cx="850900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5200" tIns="25200" rIns="25200" bIns="252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/>
              <a:t>Muokkaa perustyyl. napsautt.</a:t>
            </a:r>
          </a:p>
        </p:txBody>
      </p:sp>
      <p:sp>
        <p:nvSpPr>
          <p:cNvPr id="1027" name="Tekstin paikkamerkki 2"/>
          <p:cNvSpPr>
            <a:spLocks noGrp="1"/>
          </p:cNvSpPr>
          <p:nvPr>
            <p:ph type="body" idx="1"/>
          </p:nvPr>
        </p:nvSpPr>
        <p:spPr bwMode="auto">
          <a:xfrm>
            <a:off x="323850" y="1314450"/>
            <a:ext cx="8510588" cy="320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5200" tIns="25200" rIns="25200" bIns="252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/>
              <a:t>Muokkaa tekstin perustyylejä napsauttamalla</a:t>
            </a:r>
          </a:p>
          <a:p>
            <a:pPr lvl="1"/>
            <a:r>
              <a:rPr lang="fi-FI" altLang="fi-FI"/>
              <a:t>toinen taso</a:t>
            </a:r>
          </a:p>
          <a:p>
            <a:pPr lvl="2"/>
            <a:r>
              <a:rPr lang="fi-FI" altLang="fi-FI"/>
              <a:t>kolmas taso</a:t>
            </a:r>
          </a:p>
          <a:p>
            <a:pPr lvl="3"/>
            <a:r>
              <a:rPr lang="fi-FI" altLang="fi-FI"/>
              <a:t>neljäs taso</a:t>
            </a:r>
          </a:p>
          <a:p>
            <a:pPr lvl="4"/>
            <a:r>
              <a:rPr lang="fi-FI" altLang="fi-FI"/>
              <a:t>viides taso</a:t>
            </a:r>
          </a:p>
        </p:txBody>
      </p:sp>
      <p:sp>
        <p:nvSpPr>
          <p:cNvPr id="1028" name="Turvaluokitus"/>
          <p:cNvSpPr txBox="1">
            <a:spLocks noChangeArrowheads="1"/>
          </p:cNvSpPr>
          <p:nvPr/>
        </p:nvSpPr>
        <p:spPr bwMode="auto">
          <a:xfrm>
            <a:off x="1235075" y="4813300"/>
            <a:ext cx="3841750" cy="13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5200" tIns="25200" rIns="25200" bIns="2520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en-GB" altLang="fi-FI" sz="900">
              <a:solidFill>
                <a:srgbClr val="808080"/>
              </a:solidFill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138" y="4824413"/>
            <a:ext cx="849312" cy="134937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736B2D7A-F3E7-4349-ACE3-0525425910F8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030" name="Kuva 5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1513" y="4603750"/>
            <a:ext cx="85090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5248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7" r:id="rId8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Arial" charset="0"/>
        </a:defRPr>
      </a:lvl9pPr>
    </p:titleStyle>
    <p:bodyStyle>
      <a:lvl1pPr marL="315913" indent="-315913" algn="l" rtl="0" fontAlgn="base">
        <a:spcBef>
          <a:spcPts val="563"/>
        </a:spcBef>
        <a:spcAft>
          <a:spcPts val="600"/>
        </a:spcAft>
        <a:buClr>
          <a:srgbClr val="0019AF"/>
        </a:buClr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438" indent="-265113" algn="l" rtl="0" fontAlgn="base">
        <a:spcBef>
          <a:spcPts val="488"/>
        </a:spcBef>
        <a:spcAft>
          <a:spcPts val="600"/>
        </a:spcAft>
        <a:buClr>
          <a:srgbClr val="FF6400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65113" algn="l" rtl="0" fontAlgn="base">
        <a:spcBef>
          <a:spcPts val="488"/>
        </a:spcBef>
        <a:spcAft>
          <a:spcPts val="600"/>
        </a:spcAft>
        <a:buClr>
          <a:srgbClr val="0019AF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8525" indent="-265113" algn="l" rtl="0" fontAlgn="base">
        <a:spcBef>
          <a:spcPts val="488"/>
        </a:spcBef>
        <a:spcAft>
          <a:spcPts val="600"/>
        </a:spcAft>
        <a:buClr>
          <a:srgbClr val="0019AF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265113" algn="l" rtl="0" fontAlgn="base">
        <a:spcBef>
          <a:spcPts val="488"/>
        </a:spcBef>
        <a:spcAft>
          <a:spcPts val="600"/>
        </a:spcAft>
        <a:buClr>
          <a:srgbClr val="0019AF"/>
        </a:buClr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197" tIns="25197" rIns="25197" bIns="25197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1" y="1130400"/>
            <a:ext cx="7848000" cy="3240000"/>
          </a:xfrm>
          <a:prstGeom prst="rect">
            <a:avLst/>
          </a:prstGeom>
        </p:spPr>
        <p:txBody>
          <a:bodyPr vert="horz" lIns="25197" tIns="25197" rIns="25197" bIns="25197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190" tIns="25190" rIns="25190" bIns="2519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1" y="4824900"/>
            <a:ext cx="849224" cy="135000"/>
          </a:xfrm>
          <a:prstGeom prst="rect">
            <a:avLst/>
          </a:prstGeom>
        </p:spPr>
        <p:txBody>
          <a:bodyPr vert="horz" lIns="25197" tIns="25197" rIns="25197" bIns="25197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0802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873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</p:sldLayoutIdLst>
  <p:hf hdr="0" ftr="0" dt="0"/>
  <p:txStyles>
    <p:titleStyle>
      <a:lvl1pPr algn="l" defTabSz="914029" rtl="0" eaLnBrk="1" latinLnBrk="0" hangingPunct="1">
        <a:spcBef>
          <a:spcPct val="0"/>
        </a:spcBef>
        <a:buNone/>
        <a:defRPr sz="2999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285" indent="-284285" algn="l" defTabSz="914029" rtl="0" eaLnBrk="1" latinLnBrk="0" hangingPunct="1">
        <a:lnSpc>
          <a:spcPts val="1899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365" indent="-266292" algn="l" defTabSz="914029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9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899636" indent="-266292" algn="l" defTabSz="914029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4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29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4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9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73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88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03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17" algn="l" defTabSz="914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3204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251520" y="4813014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Kuva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  <p:sp>
        <p:nvSpPr>
          <p:cNvPr id="7" name="Dian numeron paikkamerkki 3">
            <a:extLst>
              <a:ext uri="{FF2B5EF4-FFF2-40B4-BE49-F238E27FC236}">
                <a16:creationId xmlns:a16="http://schemas.microsoft.com/office/drawing/2014/main" id="{E7929ED1-21BD-467E-92C9-C98D1A8C09A1}"/>
              </a:ext>
            </a:extLst>
          </p:cNvPr>
          <p:cNvSpPr txBox="1">
            <a:spLocks/>
          </p:cNvSpPr>
          <p:nvPr userDrawn="1"/>
        </p:nvSpPr>
        <p:spPr>
          <a:xfrm>
            <a:off x="1763688" y="4885022"/>
            <a:ext cx="4737656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>
                <a:solidFill>
                  <a:srgbClr val="000000">
                    <a:tint val="75000"/>
                  </a:srgbClr>
                </a:solidFill>
              </a:rPr>
              <a:t>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8193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45600" y="237600"/>
            <a:ext cx="8510400" cy="738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2800" y="1130400"/>
            <a:ext cx="7848000" cy="3240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  <a:p>
            <a:pPr lvl="5"/>
            <a:r>
              <a:rPr lang="fi-FI" dirty="0"/>
              <a:t>6</a:t>
            </a:r>
          </a:p>
          <a:p>
            <a:pPr lvl="6"/>
            <a:r>
              <a:rPr lang="fi-FI" dirty="0"/>
              <a:t>7</a:t>
            </a:r>
          </a:p>
          <a:p>
            <a:pPr lvl="7"/>
            <a:r>
              <a:rPr lang="fi-FI" dirty="0"/>
              <a:t>8</a:t>
            </a:r>
          </a:p>
          <a:p>
            <a:pPr lvl="8"/>
            <a:r>
              <a:rPr lang="fi-FI" dirty="0"/>
              <a:t>9</a:t>
            </a:r>
          </a:p>
        </p:txBody>
      </p:sp>
      <p:sp>
        <p:nvSpPr>
          <p:cNvPr id="8" name="Turvaluokitus"/>
          <p:cNvSpPr txBox="1">
            <a:spLocks noChangeArrowheads="1"/>
          </p:cNvSpPr>
          <p:nvPr/>
        </p:nvSpPr>
        <p:spPr bwMode="auto">
          <a:xfrm>
            <a:off x="1234856" y="4813014"/>
            <a:ext cx="3841200" cy="1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5200" tIns="25200" rIns="25200" bIns="25200"/>
          <a:lstStyle/>
          <a:p>
            <a:pPr algn="l"/>
            <a:endParaRPr lang="en-GB" sz="900" dirty="0">
              <a:solidFill>
                <a:srgbClr val="80808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24900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elisa_small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16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rgbClr val="0019AF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ts val="1900"/>
        </a:lnSpc>
        <a:spcBef>
          <a:spcPts val="900"/>
        </a:spcBef>
        <a:spcAft>
          <a:spcPts val="0"/>
        </a:spcAft>
        <a:buClr>
          <a:srgbClr val="0019AF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lang="fi-FI" sz="9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accent6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16800" y="248400"/>
            <a:ext cx="8510400" cy="954000"/>
          </a:xfrm>
          <a:prstGeom prst="rect">
            <a:avLst/>
          </a:prstGeom>
        </p:spPr>
        <p:txBody>
          <a:bodyPr vert="horz" lIns="25200" tIns="25200" rIns="25200" bIns="25200" rtlCol="0" anchor="ctr" anchorCtr="0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24000" y="1314000"/>
            <a:ext cx="8510400" cy="3204000"/>
          </a:xfrm>
          <a:prstGeom prst="rect">
            <a:avLst/>
          </a:prstGeom>
        </p:spPr>
        <p:txBody>
          <a:bodyPr vert="horz" lIns="25200" tIns="25200" rIns="25200" bIns="2520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4"/>
          </p:nvPr>
        </p:nvSpPr>
        <p:spPr>
          <a:xfrm>
            <a:off x="338400" y="4885022"/>
            <a:ext cx="849224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fld id="{ABDD62AB-4532-4F49-AC82-62CE9ED7FFA2}" type="slidenum">
              <a:rPr lang="fi-FI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i-FI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Kuva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800" y="4604400"/>
            <a:ext cx="850909" cy="540000"/>
          </a:xfrm>
          <a:prstGeom prst="rect">
            <a:avLst/>
          </a:prstGeom>
        </p:spPr>
      </p:pic>
      <p:sp>
        <p:nvSpPr>
          <p:cNvPr id="7" name="Dian numeron paikkamerkki 3">
            <a:extLst>
              <a:ext uri="{FF2B5EF4-FFF2-40B4-BE49-F238E27FC236}">
                <a16:creationId xmlns:a16="http://schemas.microsoft.com/office/drawing/2014/main" id="{E7929ED1-21BD-467E-92C9-C98D1A8C09A1}"/>
              </a:ext>
            </a:extLst>
          </p:cNvPr>
          <p:cNvSpPr txBox="1">
            <a:spLocks/>
          </p:cNvSpPr>
          <p:nvPr userDrawn="1"/>
        </p:nvSpPr>
        <p:spPr>
          <a:xfrm>
            <a:off x="1778560" y="4885022"/>
            <a:ext cx="4737656" cy="135000"/>
          </a:xfrm>
          <a:prstGeom prst="rect">
            <a:avLst/>
          </a:prstGeom>
        </p:spPr>
        <p:txBody>
          <a:bodyPr vert="horz" lIns="25200" tIns="25200" rIns="25200" bIns="25200" rtlCol="0" anchor="ctr"/>
          <a:lstStyle>
            <a:defPPr>
              <a:defRPr lang="fi-FI"/>
            </a:defPPr>
            <a:lvl1pPr marL="0" algn="l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>
                <a:solidFill>
                  <a:srgbClr val="000000">
                    <a:tint val="75000"/>
                  </a:srgbClr>
                </a:solidFill>
              </a:rPr>
              <a:t>Taajuusasiat – LVM  24.1.2019         LUOTTAMUKSELLINEN</a:t>
            </a:r>
          </a:p>
        </p:txBody>
      </p:sp>
    </p:spTree>
    <p:extLst>
      <p:ext uri="{BB962C8B-B14F-4D97-AF65-F5344CB8AC3E}">
        <p14:creationId xmlns:p14="http://schemas.microsoft.com/office/powerpoint/2010/main" val="285067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0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800" indent="-316800" algn="l" defTabSz="914400" rtl="0" eaLnBrk="1" latinLnBrk="0" hangingPunct="1">
        <a:lnSpc>
          <a:spcPct val="100000"/>
        </a:lnSpc>
        <a:spcBef>
          <a:spcPts val="563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96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FF640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266400" algn="l" defTabSz="914400" rtl="0" eaLnBrk="1" latinLnBrk="0" hangingPunct="1">
        <a:spcBef>
          <a:spcPts val="488"/>
        </a:spcBef>
        <a:spcAft>
          <a:spcPts val="600"/>
        </a:spcAft>
        <a:buClr>
          <a:srgbClr val="0019AF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266400" algn="l" defTabSz="914400" rtl="0" eaLnBrk="1" latinLnBrk="0" hangingPunct="1">
        <a:spcBef>
          <a:spcPct val="20000"/>
        </a:spcBef>
        <a:spcAft>
          <a:spcPts val="1000"/>
        </a:spcAft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33.jfif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/>
          <p:cNvSpPr>
            <a:spLocks noGrp="1"/>
          </p:cNvSpPr>
          <p:nvPr>
            <p:ph type="ctrTitle"/>
          </p:nvPr>
        </p:nvSpPr>
        <p:spPr>
          <a:xfrm>
            <a:off x="330304" y="3651870"/>
            <a:ext cx="8510400" cy="885600"/>
          </a:xfrm>
        </p:spPr>
        <p:txBody>
          <a:bodyPr>
            <a:normAutofit fontScale="90000"/>
          </a:bodyPr>
          <a:lstStyle/>
          <a:p>
            <a:r>
              <a:rPr lang="fi-FI" sz="3200" dirty="0"/>
              <a:t>Kuulemistilaisuus energiaverotuksen uudistamisesta</a:t>
            </a:r>
            <a:endParaRPr lang="en-GB" sz="3200" dirty="0"/>
          </a:p>
        </p:txBody>
      </p:sp>
      <p:sp>
        <p:nvSpPr>
          <p:cNvPr id="5" name="Alaotsikko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13.2.2020</a:t>
            </a:r>
          </a:p>
        </p:txBody>
      </p:sp>
    </p:spTree>
    <p:extLst>
      <p:ext uri="{BB962C8B-B14F-4D97-AF65-F5344CB8AC3E}">
        <p14:creationId xmlns:p14="http://schemas.microsoft.com/office/powerpoint/2010/main" val="3024824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12000" b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05582"/>
            <a:ext cx="8510400" cy="954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fi-FI" sz="2400" dirty="0">
                <a:solidFill>
                  <a:schemeClr val="accent1"/>
                </a:solidFill>
                <a:latin typeface="+mn-lt"/>
                <a:cs typeface="Verlag Light"/>
              </a:rPr>
              <a:t>Elisan kunnianhimoiset ilmastotavoittee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EB11830-ED88-4DB6-A847-3045766C25AD}"/>
              </a:ext>
            </a:extLst>
          </p:cNvPr>
          <p:cNvSpPr txBox="1">
            <a:spLocks/>
          </p:cNvSpPr>
          <p:nvPr/>
        </p:nvSpPr>
        <p:spPr>
          <a:xfrm>
            <a:off x="210352" y="1018071"/>
            <a:ext cx="5577778" cy="3672408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316800" indent="-316800" algn="l" defTabSz="914400" rtl="0" eaLnBrk="1" latinLnBrk="0" hangingPunct="1">
              <a:lnSpc>
                <a:spcPct val="100000"/>
              </a:lnSpc>
              <a:spcBef>
                <a:spcPts val="563"/>
              </a:spcBef>
              <a:spcAft>
                <a:spcPts val="600"/>
              </a:spcAft>
              <a:buClr>
                <a:srgbClr val="0019AF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9600" indent="-266400" algn="l" defTabSz="914400" rtl="0" eaLnBrk="1" latinLnBrk="0" hangingPunct="1">
              <a:spcBef>
                <a:spcPts val="488"/>
              </a:spcBef>
              <a:spcAft>
                <a:spcPts val="600"/>
              </a:spcAft>
              <a:buClr>
                <a:srgbClr val="FF6400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0000" indent="-266400" algn="l" defTabSz="914400" rtl="0" eaLnBrk="1" latinLnBrk="0" hangingPunct="1">
              <a:spcBef>
                <a:spcPts val="488"/>
              </a:spcBef>
              <a:spcAft>
                <a:spcPts val="600"/>
              </a:spcAft>
              <a:buClr>
                <a:srgbClr val="0019AF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266400" algn="l" defTabSz="914400" rtl="0" eaLnBrk="1" latinLnBrk="0" hangingPunct="1">
              <a:spcBef>
                <a:spcPts val="488"/>
              </a:spcBef>
              <a:spcAft>
                <a:spcPts val="600"/>
              </a:spcAft>
              <a:buClr>
                <a:srgbClr val="0019AF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266400" algn="l" defTabSz="914400" rtl="0" eaLnBrk="1" latinLnBrk="0" hangingPunct="1">
              <a:spcBef>
                <a:spcPts val="488"/>
              </a:spcBef>
              <a:spcAft>
                <a:spcPts val="600"/>
              </a:spcAft>
              <a:buClr>
                <a:srgbClr val="0019AF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266400" algn="l" defTabSz="914400" rtl="0" eaLnBrk="1" latinLnBrk="0" hangingPunct="1">
              <a:spcBef>
                <a:spcPct val="20000"/>
              </a:spcBef>
              <a:spcAft>
                <a:spcPts val="100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266400" algn="l" defTabSz="914400" rtl="0" eaLnBrk="1" latinLnBrk="0" hangingPunct="1">
              <a:spcBef>
                <a:spcPct val="20000"/>
              </a:spcBef>
              <a:spcAft>
                <a:spcPts val="100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266400" algn="l" defTabSz="914400" rtl="0" eaLnBrk="1" latinLnBrk="0" hangingPunct="1">
              <a:spcBef>
                <a:spcPct val="20000"/>
              </a:spcBef>
              <a:spcAft>
                <a:spcPts val="100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266400" algn="l" defTabSz="914400" rtl="0" eaLnBrk="1" latinLnBrk="0" hangingPunct="1">
              <a:spcBef>
                <a:spcPct val="20000"/>
              </a:spcBef>
              <a:spcAft>
                <a:spcPts val="100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800" marR="0" lvl="0" indent="-3168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19A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ilidioksidipäästöjen vähentäminen osa strategiaamme jo vuodesta 2009</a:t>
            </a:r>
          </a:p>
          <a:p>
            <a:pPr marL="316800" marR="0" lvl="0" indent="-3168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19A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ksi ensimmäisistä suomalaisyrityksistä, jonka ilmastotavoitteet on tehty Science </a:t>
            </a:r>
            <a:r>
              <a:rPr kumimoji="0" lang="fi-FI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ed</a:t>
            </a: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arget -aloitteen vaatimusten mukaisesti</a:t>
            </a:r>
          </a:p>
          <a:p>
            <a:pPr marL="579600" marR="0" lvl="1" indent="-2664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64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iisin ilmastokokouksen mukaiset päästötavoitteet</a:t>
            </a:r>
          </a:p>
          <a:p>
            <a:pPr marL="316800" marR="0" lvl="0" indent="-3168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19A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mastoraportointi (CDP) pohjoismaiden parhaimmistoa</a:t>
            </a:r>
          </a:p>
          <a:p>
            <a:pPr marL="316800" marR="0" lvl="0" indent="-3168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19A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emme jäsenenä ilmastonmuutoksen yrityslähtöisiä ratkaisuja edistävässä </a:t>
            </a:r>
            <a:r>
              <a:rPr kumimoji="0" lang="fi-FI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mate</a:t>
            </a: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i-FI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</a:t>
            </a: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i-FI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dership</a:t>
            </a: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i-FI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alitionissa</a:t>
            </a: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CLC)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r>
              <a:rPr kumimoji="0" lang="en-US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ilijalanjälkemme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</a:t>
            </a:r>
            <a:r>
              <a:rPr kumimoji="0" lang="en-US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enentynyt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in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60 % (</a:t>
            </a:r>
            <a:r>
              <a:rPr kumimoji="0" lang="en-US" sz="25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uodesta</a:t>
            </a:r>
            <a:r>
              <a:rPr kumimoji="0" lang="en-US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16): </a:t>
            </a:r>
            <a:r>
              <a:rPr lang="fi-FI" sz="2500" dirty="0">
                <a:solidFill>
                  <a:srgbClr val="404041"/>
                </a:solidFill>
              </a:rPr>
              <a:t>Olemme hiilineutraali vuoden 2020 aikana</a:t>
            </a: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9600" marR="0" lvl="1" indent="-2664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64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äytämm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usiutuva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ia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9600" marR="0" lvl="1" indent="-2664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64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oimm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kkoamm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9600" marR="0" lvl="1" indent="-2664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64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yödynnämm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esaliemm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kkalämmön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79600" marR="0" lvl="1" indent="-2664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64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l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i-FI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-toimintamallimme vähentää merkittävästi matkustamista ja päästöjä</a:t>
            </a:r>
          </a:p>
          <a:p>
            <a:pPr marL="316800" marR="0" lvl="0" indent="-3168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19AF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joamme digitalisaation keinoin asiakkaillemme ratkaisuja,</a:t>
            </a:r>
            <a:b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fi-FI" sz="25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oilla he voivat vähentää päästöjään</a:t>
            </a:r>
          </a:p>
          <a:p>
            <a:pPr marL="316800" marR="0" lvl="0" indent="-3168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19AF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fi-FI" sz="1400" b="0" i="0" u="none" strike="noStrike" kern="1200" cap="none" spc="0" normalizeH="0" baseline="0" noProof="0" dirty="0">
              <a:ln>
                <a:noFill/>
              </a:ln>
              <a:solidFill>
                <a:srgbClr val="40404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33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F7E82D9-1E92-49A4-BB07-4643A66C81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568" y="4342675"/>
            <a:ext cx="1231198" cy="690680"/>
          </a:xfrm>
          <a:prstGeom prst="rect">
            <a:avLst/>
          </a:prstGeom>
        </p:spPr>
      </p:pic>
      <p:pic>
        <p:nvPicPr>
          <p:cNvPr id="8" name="Picture 19" descr="A picture containing drawing&#10;&#10;Description generated with very high confidence">
            <a:extLst>
              <a:ext uri="{FF2B5EF4-FFF2-40B4-BE49-F238E27FC236}">
                <a16:creationId xmlns:a16="http://schemas.microsoft.com/office/drawing/2014/main" id="{5FFE1FCC-36AF-4E39-9A48-A3785C1481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51720" y="4428806"/>
            <a:ext cx="1231198" cy="5184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B66A687-F883-460C-A4CB-21D80465B3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19872" y="4332160"/>
            <a:ext cx="801980" cy="80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534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6ECB1DB-2629-4C7B-A534-B96C1CCC8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i-FI" dirty="0"/>
              <a:t>Esitys 1: Siirretään sähköveroluokkaan II konesalit, joista lämpö otetaan taltee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474CB953-B8C3-40B6-84CB-42CB49618C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1130400"/>
            <a:ext cx="7848000" cy="3457574"/>
          </a:xfrm>
        </p:spPr>
        <p:txBody>
          <a:bodyPr>
            <a:normAutofit fontScale="77500" lnSpcReduction="20000"/>
          </a:bodyPr>
          <a:lstStyle/>
          <a:p>
            <a:endParaRPr lang="fi-FI" dirty="0"/>
          </a:p>
          <a:p>
            <a:r>
              <a:rPr lang="fi-FI" dirty="0"/>
              <a:t>On erittäin hyvä, että konesalien verotusta </a:t>
            </a:r>
            <a:r>
              <a:rPr lang="fi-FI" b="1" dirty="0"/>
              <a:t>tasapuolistetaan </a:t>
            </a:r>
            <a:r>
              <a:rPr lang="fi-FI" dirty="0"/>
              <a:t>ja </a:t>
            </a:r>
            <a:r>
              <a:rPr lang="fi-FI" b="1" dirty="0"/>
              <a:t>otetaan käyttöön ympäristöohjaavuus </a:t>
            </a:r>
            <a:r>
              <a:rPr lang="fi-FI" dirty="0"/>
              <a:t>siirtämällä edullisempaan sähköveroluokkaan II kaukolämpöverkkoon lämpöä tuottavat lämpöpumput ja konesalit. </a:t>
            </a:r>
          </a:p>
          <a:p>
            <a:r>
              <a:rPr lang="fi-FI" dirty="0"/>
              <a:t>On perusteltua, että konesalien tuottaman lämmön hyötykäyttöön näin kannustetaan. </a:t>
            </a:r>
            <a:r>
              <a:rPr lang="fi-FI" b="1" dirty="0"/>
              <a:t>Aina ei kuitenkaan ole mahdollista ohjata lämpöä kaukolämpöverkkoon</a:t>
            </a:r>
            <a:r>
              <a:rPr lang="fi-FI" dirty="0"/>
              <a:t>. </a:t>
            </a:r>
          </a:p>
          <a:p>
            <a:r>
              <a:rPr lang="fi-FI" dirty="0"/>
              <a:t>Kaukolämpöverkon sijaan monen konesalin tuottama lämpö on kuitenkin hyödynnettävissä myös </a:t>
            </a:r>
            <a:r>
              <a:rPr lang="fi-FI" b="1" dirty="0"/>
              <a:t>kiinteistöjen </a:t>
            </a:r>
            <a:r>
              <a:rPr lang="fi-FI" dirty="0"/>
              <a:t>tai esimerkiksi kasvihuoneiden </a:t>
            </a:r>
            <a:r>
              <a:rPr lang="fi-FI" b="1" dirty="0"/>
              <a:t>käyttöön</a:t>
            </a:r>
            <a:r>
              <a:rPr lang="fi-FI" dirty="0"/>
              <a:t>. </a:t>
            </a:r>
            <a:r>
              <a:rPr lang="fi-FI" b="1" dirty="0"/>
              <a:t>Toivottavasti määritelmää voidaan tarkentaa niin, että kaikenlainen hyötykäyttö oikeuttaisi alempaan veroluokkaan.</a:t>
            </a:r>
          </a:p>
          <a:p>
            <a:r>
              <a:rPr lang="fi-FI" u="sng" dirty="0"/>
              <a:t>Esitämmekin määritelmän tarkentamista muotoon</a:t>
            </a:r>
            <a:r>
              <a:rPr lang="fi-FI" dirty="0"/>
              <a:t>: </a:t>
            </a:r>
            <a:r>
              <a:rPr lang="fi-FI" b="1" dirty="0"/>
              <a:t>Sähköverouudistuksessa edullisempaan sähköveroluokkaan II siirretään </a:t>
            </a:r>
            <a:r>
              <a:rPr lang="fi-FI" b="1" i="1" dirty="0"/>
              <a:t>lämpöpumput ja konesalit, joista lämpö otetaan talteen</a:t>
            </a:r>
            <a:r>
              <a:rPr lang="fi-FI" dirty="0"/>
              <a:t>.</a:t>
            </a:r>
          </a:p>
          <a:p>
            <a:endParaRPr lang="fi-FI" dirty="0"/>
          </a:p>
          <a:p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673642A1-897C-4107-8CFE-4684D9D874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DD62AB-4532-4F49-AC82-62CE9ED7FFA2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2316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BBCA4D4-BBA4-47DD-A098-B8950E99B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i-FI" sz="2400" dirty="0"/>
              <a:t>Esitys 2: Siirretään tukiasemasähkö sähköveroluokkaan II</a:t>
            </a:r>
            <a:br>
              <a:rPr lang="fi-FI" sz="2400" dirty="0"/>
            </a:br>
            <a:endParaRPr lang="fi-FI" sz="2400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FB1EAF3D-795B-471F-ADF0-37C838655B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800" y="843558"/>
            <a:ext cx="7848000" cy="4116342"/>
          </a:xfrm>
        </p:spPr>
        <p:txBody>
          <a:bodyPr>
            <a:normAutofit fontScale="62500" lnSpcReduction="20000"/>
          </a:bodyPr>
          <a:lstStyle/>
          <a:p>
            <a:r>
              <a:rPr lang="fi-FI" dirty="0"/>
              <a:t>Suomi on langattoman tietoliikenteen kärkimaa ja käyttäjäkohtainen mobiilidatan määrä on maailman suurinta. Vaikka Suomi on väestömäärältään pieni ja harvaan asuttu maa, </a:t>
            </a:r>
            <a:r>
              <a:rPr lang="fi-FI" b="1" dirty="0" err="1"/>
              <a:t>mobiililaajakaistayhteydet</a:t>
            </a:r>
            <a:r>
              <a:rPr lang="fi-FI" b="1" dirty="0"/>
              <a:t> ovat kaikkien saatavilla edullisilla hinnoilla</a:t>
            </a:r>
            <a:r>
              <a:rPr lang="fi-FI" dirty="0"/>
              <a:t>.</a:t>
            </a:r>
          </a:p>
          <a:p>
            <a:r>
              <a:rPr lang="fi-FI" dirty="0"/>
              <a:t>Harvaan asutussa maassa </a:t>
            </a:r>
            <a:r>
              <a:rPr lang="fi-FI" b="1" dirty="0"/>
              <a:t>mobiililaajakaista on tehokkain tapa edesauttaa digitalisaation kehittymistä koko maassa</a:t>
            </a:r>
            <a:r>
              <a:rPr lang="fi-FI" dirty="0"/>
              <a:t>. </a:t>
            </a:r>
          </a:p>
          <a:p>
            <a:r>
              <a:rPr lang="fi-FI" dirty="0" err="1"/>
              <a:t>Mobiililaajakaistayhteydet</a:t>
            </a:r>
            <a:r>
              <a:rPr lang="fi-FI" dirty="0"/>
              <a:t> toteutetaan kaupallisten toimijoiden toimesta, ilman valtion tukia. Myös viranomaisliikenne (Virve 2.0) jatkossa tukeutuu kaupallisiin mobiililaajakaistaverkkoihin.</a:t>
            </a:r>
          </a:p>
          <a:p>
            <a:r>
              <a:rPr lang="fi-FI" b="1" dirty="0"/>
              <a:t>Sähkön hinta on merkittävä kustannuskomponentti kasvavassa datansiirtotarpeessa</a:t>
            </a:r>
            <a:r>
              <a:rPr lang="fi-FI" dirty="0"/>
              <a:t>. Vaikka teemme jatkuvasti energiatehokkuuden parannusta, jonka tuloksena siirretyn mobiilidatan energiatehokkuus on parantunut, </a:t>
            </a:r>
            <a:r>
              <a:rPr lang="fi-FI" b="1" dirty="0"/>
              <a:t>sähkönkulutus tulee väistämättä kasvamaan</a:t>
            </a:r>
            <a:r>
              <a:rPr lang="fi-FI" dirty="0"/>
              <a:t>. </a:t>
            </a:r>
          </a:p>
          <a:p>
            <a:r>
              <a:rPr lang="fi-FI" dirty="0"/>
              <a:t>Pysyäksemme kehityksen kärjessä </a:t>
            </a:r>
            <a:r>
              <a:rPr lang="fi-FI" b="1" dirty="0"/>
              <a:t>on huolehdittava siitä, ettei tietoliikenneverkkojen käyttämän sähkön hinta nouse esteeksi</a:t>
            </a:r>
            <a:r>
              <a:rPr lang="fi-FI" dirty="0"/>
              <a:t>, vaan verkkoinvestoinnit voidaan toteuttaa Suomen kilpailukyvyn turvaamiseksi ja parantamiseksi. </a:t>
            </a:r>
          </a:p>
          <a:p>
            <a:r>
              <a:rPr lang="fi-FI" u="sng" dirty="0"/>
              <a:t>Edellä olevilla perusteilla</a:t>
            </a:r>
            <a:r>
              <a:rPr lang="fi-FI" dirty="0"/>
              <a:t> </a:t>
            </a:r>
            <a:r>
              <a:rPr lang="fi-FI" b="1" dirty="0"/>
              <a:t>esitämme tukiasemasähkön siirtämistä edullisempaan sähköveroluokkaan II</a:t>
            </a:r>
            <a:r>
              <a:rPr lang="fi-FI" dirty="0"/>
              <a:t>.</a:t>
            </a:r>
          </a:p>
          <a:p>
            <a:endParaRPr lang="fi-FI" dirty="0"/>
          </a:p>
          <a:p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909D4797-7BF7-4A23-B6CD-177324C65D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DD62AB-4532-4F49-AC82-62CE9ED7FFA2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3990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2485892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E1055F80-96D3-4215-9775-7A25F7881052}" vid="{767D96AE-A840-409F-9F00-0B3A855D2396}"/>
    </a:ext>
  </a:extLst>
</a:theme>
</file>

<file path=ppt/theme/theme10.xml><?xml version="1.0" encoding="utf-8"?>
<a:theme xmlns:a="http://schemas.openxmlformats.org/drawingml/2006/main" name="5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5C03FB98-AFCA-443C-BFBF-3C47C4974EEB}" vid="{867020D0-1477-43B2-8F36-AE8B32A28472}"/>
    </a:ext>
  </a:extLst>
</a:theme>
</file>

<file path=ppt/theme/theme11.xml><?xml version="1.0" encoding="utf-8"?>
<a:theme xmlns:a="http://schemas.openxmlformats.org/drawingml/2006/main" name="6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F1FEE952-3B04-41D4-BB8E-4F88B9AC3D0D}" vid="{F67E9B5B-2133-4D5A-AFBD-F41E7467AB3C}"/>
    </a:ext>
  </a:extLst>
</a:theme>
</file>

<file path=ppt/theme/theme12.xml><?xml version="1.0" encoding="utf-8"?>
<a:theme xmlns:a="http://schemas.openxmlformats.org/drawingml/2006/main" name="13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4101DC4F-E6E4-440D-B614-3FB07932C37B}" vid="{B9841C03-30A3-407E-8E9D-78AE675B214C}"/>
    </a:ext>
  </a:extLst>
</a:theme>
</file>

<file path=ppt/theme/theme13.xml><?xml version="1.0" encoding="utf-8"?>
<a:theme xmlns:a="http://schemas.openxmlformats.org/drawingml/2006/main" name="14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E1055F80-96D3-4215-9775-7A25F7881052}" vid="{767D96AE-A840-409F-9F00-0B3A855D2396}"/>
    </a:ext>
  </a:extLst>
</a:theme>
</file>

<file path=ppt/theme/theme14.xml><?xml version="1.0" encoding="utf-8"?>
<a:theme xmlns:a="http://schemas.openxmlformats.org/drawingml/2006/main" name="7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5C03FB98-AFCA-443C-BFBF-3C47C4974EEB}" vid="{867020D0-1477-43B2-8F36-AE8B32A28472}"/>
    </a:ext>
  </a:extLst>
</a:theme>
</file>

<file path=ppt/theme/theme15.xml><?xml version="1.0" encoding="utf-8"?>
<a:theme xmlns:a="http://schemas.openxmlformats.org/drawingml/2006/main" name="15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E1055F80-96D3-4215-9775-7A25F7881052}" vid="{767D96AE-A840-409F-9F00-0B3A855D2396}"/>
    </a:ext>
  </a:extLst>
</a:theme>
</file>

<file path=ppt/theme/theme16.xml><?xml version="1.0" encoding="utf-8"?>
<a:theme xmlns:a="http://schemas.openxmlformats.org/drawingml/2006/main" name="10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4101DC4F-E6E4-440D-B614-3FB07932C37B}" vid="{B9841C03-30A3-407E-8E9D-78AE675B214C}"/>
    </a:ext>
  </a:extLst>
</a:theme>
</file>

<file path=ppt/theme/theme17.xml><?xml version="1.0" encoding="utf-8"?>
<a:theme xmlns:a="http://schemas.openxmlformats.org/drawingml/2006/main" name="16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_en.potx" id="{6B2F887C-070A-4E1B-BB3F-3152A91F9D25}" vid="{8F657045-E458-4938-A60F-CCAD3CE8F10D}"/>
    </a:ext>
  </a:extLst>
</a:theme>
</file>

<file path=ppt/theme/theme18.xml><?xml version="1.0" encoding="utf-8"?>
<a:theme xmlns:a="http://schemas.openxmlformats.org/drawingml/2006/main" name="3_elisa_CMD2016_sample_A4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alkoinen_laaja.potx" id="{4101DC4F-E6E4-440D-B614-3FB07932C37B}" vid="{B9841C03-30A3-407E-8E9D-78AE675B214C}"/>
    </a:ext>
  </a:extLst>
</a:theme>
</file>

<file path=ppt/theme/theme19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4101DC4F-E6E4-440D-B614-3FB07932C37B}" vid="{B9841C03-30A3-407E-8E9D-78AE675B214C}"/>
    </a:ext>
  </a:extLst>
</a:theme>
</file>

<file path=ppt/theme/theme20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4101DC4F-E6E4-440D-B614-3FB07932C37B}" vid="{B9841C03-30A3-407E-8E9D-78AE675B214C}"/>
    </a:ext>
  </a:extLst>
</a:theme>
</file>

<file path=ppt/theme/theme4.xml><?xml version="1.0" encoding="utf-8"?>
<a:theme xmlns:a="http://schemas.openxmlformats.org/drawingml/2006/main" name="9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_en.potx" id="{E07A0D01-3588-4615-9664-828E96C9F624}" vid="{0A1ED358-9713-41B3-B079-52CF6281E254}"/>
    </a:ext>
  </a:extLst>
</a:theme>
</file>

<file path=ppt/theme/theme5.xml><?xml version="1.0" encoding="utf-8"?>
<a:theme xmlns:a="http://schemas.openxmlformats.org/drawingml/2006/main" name="2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F1FEE952-3B04-41D4-BB8E-4F88B9AC3D0D}" vid="{F67E9B5B-2133-4D5A-AFBD-F41E7467AB3C}"/>
    </a:ext>
  </a:extLst>
</a:theme>
</file>

<file path=ppt/theme/theme6.xml><?xml version="1.0" encoding="utf-8"?>
<a:theme xmlns:a="http://schemas.openxmlformats.org/drawingml/2006/main" name="26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C2E9E0DE-87FD-4DF1-810B-68A6FB11EE23}" vid="{84B84B94-C8B2-4F01-B490-27B2D92FFABF}"/>
    </a:ext>
  </a:extLst>
</a:theme>
</file>

<file path=ppt/theme/theme7.xml><?xml version="1.0" encoding="utf-8"?>
<a:theme xmlns:a="http://schemas.openxmlformats.org/drawingml/2006/main" name="11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_en.potx" id="{DDDDB958-4079-41F5-A785-173E89A65DC4}" vid="{21EEC164-9A82-4ABD-98FA-E64D38216D13}"/>
    </a:ext>
  </a:extLst>
</a:theme>
</file>

<file path=ppt/theme/theme8.xml><?xml version="1.0" encoding="utf-8"?>
<a:theme xmlns:a="http://schemas.openxmlformats.org/drawingml/2006/main" name="3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.potx" id="{E1055F80-96D3-4215-9775-7A25F7881052}" vid="{767D96AE-A840-409F-9F00-0B3A855D2396}"/>
    </a:ext>
  </a:extLst>
</a:theme>
</file>

<file path=ppt/theme/theme9.xml><?xml version="1.0" encoding="utf-8"?>
<a:theme xmlns:a="http://schemas.openxmlformats.org/drawingml/2006/main" name="12_elisa">
  <a:themeElements>
    <a:clrScheme name="Elisa">
      <a:dk1>
        <a:srgbClr val="000000"/>
      </a:dk1>
      <a:lt1>
        <a:srgbClr val="FFFFFF"/>
      </a:lt1>
      <a:dk2>
        <a:srgbClr val="404041"/>
      </a:dk2>
      <a:lt2>
        <a:srgbClr val="F5F5F5"/>
      </a:lt2>
      <a:accent1>
        <a:srgbClr val="0019AF"/>
      </a:accent1>
      <a:accent2>
        <a:srgbClr val="FCAF17"/>
      </a:accent2>
      <a:accent3>
        <a:srgbClr val="FF6400"/>
      </a:accent3>
      <a:accent4>
        <a:srgbClr val="00A950"/>
      </a:accent4>
      <a:accent5>
        <a:srgbClr val="AAE0FA"/>
      </a:accent5>
      <a:accent6>
        <a:srgbClr val="00BAF2"/>
      </a:accent6>
      <a:hlink>
        <a:srgbClr val="0019AF"/>
      </a:hlink>
      <a:folHlink>
        <a:srgbClr val="FF6400"/>
      </a:folHlink>
    </a:clrScheme>
    <a:fontScheme name="Elisa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alkoinen_laaja_en.potx" id="{DDDDB958-4079-41F5-A785-173E89A65DC4}" vid="{21EEC164-9A82-4ABD-98FA-E64D38216D1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alkoinen_laaja</Template>
  <TotalTime>2437</TotalTime>
  <Words>283</Words>
  <Application>Microsoft Office PowerPoint</Application>
  <PresentationFormat>Näytössä katseltava esitys (16:9)</PresentationFormat>
  <Paragraphs>32</Paragraphs>
  <Slides>5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1</vt:i4>
      </vt:variant>
      <vt:variant>
        <vt:lpstr>Teema</vt:lpstr>
      </vt:variant>
      <vt:variant>
        <vt:i4>18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5</vt:i4>
      </vt:variant>
    </vt:vector>
  </HeadingPairs>
  <TitlesOfParts>
    <vt:vector size="25" baseType="lpstr">
      <vt:lpstr>Arial</vt:lpstr>
      <vt:lpstr>elisa</vt:lpstr>
      <vt:lpstr>1_elisa</vt:lpstr>
      <vt:lpstr>8_elisa</vt:lpstr>
      <vt:lpstr>9_elisa</vt:lpstr>
      <vt:lpstr>2_elisa</vt:lpstr>
      <vt:lpstr>26_elisa</vt:lpstr>
      <vt:lpstr>11_elisa</vt:lpstr>
      <vt:lpstr>3_elisa</vt:lpstr>
      <vt:lpstr>12_elisa</vt:lpstr>
      <vt:lpstr>5_elisa</vt:lpstr>
      <vt:lpstr>6_elisa</vt:lpstr>
      <vt:lpstr>13_elisa</vt:lpstr>
      <vt:lpstr>14_elisa</vt:lpstr>
      <vt:lpstr>7_elisa</vt:lpstr>
      <vt:lpstr>15_elisa</vt:lpstr>
      <vt:lpstr>10_elisa</vt:lpstr>
      <vt:lpstr>16_elisa</vt:lpstr>
      <vt:lpstr>3_elisa_CMD2016_sample_A4</vt:lpstr>
      <vt:lpstr>think-cell Slide</vt:lpstr>
      <vt:lpstr>Kuulemistilaisuus energiaverotuksen uudistamisesta</vt:lpstr>
      <vt:lpstr>Elisan kunnianhimoiset ilmastotavoitteet</vt:lpstr>
      <vt:lpstr>Esitys 1: Siirretään sähköveroluokkaan II konesalit, joista lämpö otetaan talteen</vt:lpstr>
      <vt:lpstr>Esitys 2: Siirretään tukiasemasähkö sähköveroluokkaan II </vt:lpstr>
      <vt:lpstr>Kiitos!</vt:lpstr>
    </vt:vector>
  </TitlesOfParts>
  <Company>Elisa Oyj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en implementointi</dc:title>
  <dc:creator>Vainio Anne</dc:creator>
  <cp:keywords/>
  <cp:lastModifiedBy>Järvihaavisto Jyri</cp:lastModifiedBy>
  <cp:revision>115</cp:revision>
  <cp:lastPrinted>2020-01-31T08:17:27Z</cp:lastPrinted>
  <dcterms:created xsi:type="dcterms:W3CDTF">2019-06-03T07:24:01Z</dcterms:created>
  <dcterms:modified xsi:type="dcterms:W3CDTF">2020-02-11T12:4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354.35.06.007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valkoinen_laaja.potx</vt:lpwstr>
  </property>
  <property fmtid="{D5CDD505-2E9C-101B-9397-08002B2CF9AE}" pid="6" name="dvDefinition">
    <vt:lpwstr>21 (dd_default.xml)</vt:lpwstr>
  </property>
  <property fmtid="{D5CDD505-2E9C-101B-9397-08002B2CF9AE}" pid="7" name="dvDefinitionID">
    <vt:lpwstr>21</vt:lpwstr>
  </property>
  <property fmtid="{D5CDD505-2E9C-101B-9397-08002B2CF9AE}" pid="8" name="dvContentFile">
    <vt:lpwstr>dd_default.xml</vt:lpwstr>
  </property>
  <property fmtid="{D5CDD505-2E9C-101B-9397-08002B2CF9AE}" pid="9" name="dvGlobalVerID">
    <vt:lpwstr>354.90.06.008</vt:lpwstr>
  </property>
  <property fmtid="{D5CDD505-2E9C-101B-9397-08002B2CF9AE}" pid="10" name="dvDefinitionVersion">
    <vt:lpwstr>2.0 / 17.10.2016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>EOYJ</vt:lpwstr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/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DUName">
    <vt:lpwstr/>
  </property>
  <property fmtid="{D5CDD505-2E9C-101B-9397-08002B2CF9AE}" pid="28" name="DUCompany">
    <vt:lpwstr>Elisa Oyj</vt:lpwstr>
  </property>
  <property fmtid="{D5CDD505-2E9C-101B-9397-08002B2CF9AE}" pid="29" name="Dname">
    <vt:lpwstr/>
  </property>
  <property fmtid="{D5CDD505-2E9C-101B-9397-08002B2CF9AE}" pid="30" name="dTitle">
    <vt:lpwstr/>
  </property>
  <property fmtid="{D5CDD505-2E9C-101B-9397-08002B2CF9AE}" pid="31" name="dSubtitle">
    <vt:lpwstr/>
  </property>
  <property fmtid="{D5CDD505-2E9C-101B-9397-08002B2CF9AE}" pid="32" name="dvLayoutFolder">
    <vt:lpwstr>elisa_pp</vt:lpwstr>
  </property>
  <property fmtid="{D5CDD505-2E9C-101B-9397-08002B2CF9AE}" pid="33" name="MSIP_Label_86f2337d-3b8f-4f73-80eb-e1c6c49c36db_Enabled">
    <vt:lpwstr>False</vt:lpwstr>
  </property>
  <property fmtid="{D5CDD505-2E9C-101B-9397-08002B2CF9AE}" pid="34" name="MSIP_Label_86f2337d-3b8f-4f73-80eb-e1c6c49c36db_SiteId">
    <vt:lpwstr>bc70102e-bcef-408c-8acb-2ab01f1517ab</vt:lpwstr>
  </property>
  <property fmtid="{D5CDD505-2E9C-101B-9397-08002B2CF9AE}" pid="35" name="MSIP_Label_86f2337d-3b8f-4f73-80eb-e1c6c49c36db_Owner">
    <vt:lpwstr>anne.vainio@elisa.fi</vt:lpwstr>
  </property>
  <property fmtid="{D5CDD505-2E9C-101B-9397-08002B2CF9AE}" pid="36" name="MSIP_Label_86f2337d-3b8f-4f73-80eb-e1c6c49c36db_SetDate">
    <vt:lpwstr>2019-08-15T18:00:47.2605227Z</vt:lpwstr>
  </property>
  <property fmtid="{D5CDD505-2E9C-101B-9397-08002B2CF9AE}" pid="37" name="MSIP_Label_86f2337d-3b8f-4f73-80eb-e1c6c49c36db_Name">
    <vt:lpwstr>For Internal Use Only</vt:lpwstr>
  </property>
  <property fmtid="{D5CDD505-2E9C-101B-9397-08002B2CF9AE}" pid="38" name="MSIP_Label_86f2337d-3b8f-4f73-80eb-e1c6c49c36db_Application">
    <vt:lpwstr>Microsoft Azure Information Protection</vt:lpwstr>
  </property>
  <property fmtid="{D5CDD505-2E9C-101B-9397-08002B2CF9AE}" pid="39" name="MSIP_Label_86f2337d-3b8f-4f73-80eb-e1c6c49c36db_Extended_MSFT_Method">
    <vt:lpwstr>Automatic</vt:lpwstr>
  </property>
</Properties>
</file>